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59" r:id="rId2"/>
    <p:sldId id="1608" r:id="rId3"/>
    <p:sldId id="1711" r:id="rId4"/>
    <p:sldId id="1712" r:id="rId5"/>
    <p:sldId id="1689" r:id="rId6"/>
    <p:sldId id="1716" r:id="rId7"/>
    <p:sldId id="275" r:id="rId8"/>
  </p:sldIdLst>
  <p:sldSz cx="12192000" cy="6858000"/>
  <p:notesSz cx="6858000" cy="9144000"/>
  <p:embeddedFontLst>
    <p:embeddedFont>
      <p:font typeface="PT Sans" panose="020B0503020203020204" pitchFamily="34" charset="0"/>
      <p:regular r:id="rId11"/>
      <p:bold r:id="rId12"/>
      <p:italic r:id="rId13"/>
      <p:boldItalic r:id="rId14"/>
    </p:embeddedFont>
  </p:embeddedFontLst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-Layouts" id="{E0AC8B35-0F8B-41E5-82FA-68AC7D4C0D6E}">
          <p14:sldIdLst>
            <p14:sldId id="359"/>
            <p14:sldId id="1608"/>
            <p14:sldId id="1711"/>
            <p14:sldId id="1712"/>
            <p14:sldId id="1689"/>
            <p14:sldId id="1716"/>
            <p14:sldId id="275"/>
          </p14:sldIdLst>
        </p14:section>
        <p14:section name="Folienbibliothek" id="{6794B3C1-7E0C-4E7A-BF51-910F8800D10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446564-49CA-4433-B81E-108A4543CFF6}" v="604" dt="2024-08-13T15:26:41.425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08" autoAdjust="0"/>
  </p:normalViewPr>
  <p:slideViewPr>
    <p:cSldViewPr snapToGrid="0" showGuides="1">
      <p:cViewPr varScale="1">
        <p:scale>
          <a:sx n="82" d="100"/>
          <a:sy n="82" d="100"/>
        </p:scale>
        <p:origin x="672" y="72"/>
      </p:cViewPr>
      <p:guideLst/>
    </p:cSldViewPr>
  </p:slideViewPr>
  <p:outlineViewPr>
    <p:cViewPr>
      <p:scale>
        <a:sx n="33" d="100"/>
        <a:sy n="33" d="100"/>
      </p:scale>
      <p:origin x="0" y="-366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5814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handoutMaster" Target="handoutMasters/handoutMaster1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hilip Wenzel" userId="6acc32ce-9657-429b-a204-ad039ae9e71f" providerId="ADAL" clId="{50446564-49CA-4433-B81E-108A4543CFF6}"/>
    <pc:docChg chg="custSel delSld modSld modSection">
      <pc:chgData name="Philip Wenzel" userId="6acc32ce-9657-429b-a204-ad039ae9e71f" providerId="ADAL" clId="{50446564-49CA-4433-B81E-108A4543CFF6}" dt="2024-08-13T15:26:58.037" v="799" actId="47"/>
      <pc:docMkLst>
        <pc:docMk/>
      </pc:docMkLst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195126823" sldId="27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510473394" sldId="28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446831779" sldId="281"/>
        </pc:sldMkLst>
      </pc:sldChg>
      <pc:sldChg chg="del">
        <pc:chgData name="Philip Wenzel" userId="6acc32ce-9657-429b-a204-ad039ae9e71f" providerId="ADAL" clId="{50446564-49CA-4433-B81E-108A4543CFF6}" dt="2024-08-13T15:20:33.391" v="105" actId="47"/>
        <pc:sldMkLst>
          <pc:docMk/>
          <pc:sldMk cId="3071119971" sldId="28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756029256" sldId="29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772711628" sldId="295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136158713" sldId="29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631278334" sldId="297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84679272" sldId="29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447670940" sldId="30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382381998" sldId="315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756672214" sldId="31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234474726" sldId="317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685463710" sldId="319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008017774" sldId="32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147848765" sldId="322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768220681" sldId="32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155092282" sldId="325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906850863" sldId="32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173221907" sldId="327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231675622" sldId="32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001152802" sldId="329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64771371" sldId="33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486069620" sldId="331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902978571" sldId="332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802184453" sldId="33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296701782" sldId="334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833263822" sldId="33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30114962" sldId="341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728289916" sldId="342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289673961" sldId="34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681001035" sldId="347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593625809" sldId="34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968430137" sldId="349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008378277" sldId="35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358283070" sldId="351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741056242" sldId="352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767869490" sldId="35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071764689" sldId="354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455478622" sldId="358"/>
        </pc:sldMkLst>
      </pc:sldChg>
      <pc:sldChg chg="modSp mod">
        <pc:chgData name="Philip Wenzel" userId="6acc32ce-9657-429b-a204-ad039ae9e71f" providerId="ADAL" clId="{50446564-49CA-4433-B81E-108A4543CFF6}" dt="2024-08-13T15:14:48.550" v="19" actId="20577"/>
        <pc:sldMkLst>
          <pc:docMk/>
          <pc:sldMk cId="84909877" sldId="359"/>
        </pc:sldMkLst>
        <pc:spChg chg="mod">
          <ac:chgData name="Philip Wenzel" userId="6acc32ce-9657-429b-a204-ad039ae9e71f" providerId="ADAL" clId="{50446564-49CA-4433-B81E-108A4543CFF6}" dt="2024-08-13T15:14:48.550" v="19" actId="20577"/>
          <ac:spMkLst>
            <pc:docMk/>
            <pc:sldMk cId="84909877" sldId="359"/>
            <ac:spMk id="5" creationId="{CC24C50A-6133-4997-BD17-338D41E40979}"/>
          </ac:spMkLst>
        </pc:spChg>
        <pc:spChg chg="mod">
          <ac:chgData name="Philip Wenzel" userId="6acc32ce-9657-429b-a204-ad039ae9e71f" providerId="ADAL" clId="{50446564-49CA-4433-B81E-108A4543CFF6}" dt="2024-08-13T15:14:40.751" v="0"/>
          <ac:spMkLst>
            <pc:docMk/>
            <pc:sldMk cId="84909877" sldId="359"/>
            <ac:spMk id="6" creationId="{73A397DA-5884-49B1-AE71-81733D306727}"/>
          </ac:spMkLst>
        </pc:spChg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427770867" sldId="36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234290805" sldId="369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114407530" sldId="370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942466799" sldId="376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008130001" sldId="378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712359554" sldId="379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2626067772" sldId="381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397837704" sldId="382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544816012" sldId="383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3770284523" sldId="384"/>
        </pc:sldMkLst>
      </pc:sldChg>
      <pc:sldChg chg="del">
        <pc:chgData name="Philip Wenzel" userId="6acc32ce-9657-429b-a204-ad039ae9e71f" providerId="ADAL" clId="{50446564-49CA-4433-B81E-108A4543CFF6}" dt="2024-08-13T15:26:58.037" v="799" actId="47"/>
        <pc:sldMkLst>
          <pc:docMk/>
          <pc:sldMk cId="1231462183" sldId="385"/>
        </pc:sldMkLst>
      </pc:sldChg>
      <pc:sldChg chg="modSp mod">
        <pc:chgData name="Philip Wenzel" userId="6acc32ce-9657-429b-a204-ad039ae9e71f" providerId="ADAL" clId="{50446564-49CA-4433-B81E-108A4543CFF6}" dt="2024-08-13T15:15:50.981" v="83" actId="20577"/>
        <pc:sldMkLst>
          <pc:docMk/>
          <pc:sldMk cId="102999155" sldId="1608"/>
        </pc:sldMkLst>
        <pc:spChg chg="mod">
          <ac:chgData name="Philip Wenzel" userId="6acc32ce-9657-429b-a204-ad039ae9e71f" providerId="ADAL" clId="{50446564-49CA-4433-B81E-108A4543CFF6}" dt="2024-08-13T15:15:50.981" v="83" actId="20577"/>
          <ac:spMkLst>
            <pc:docMk/>
            <pc:sldMk cId="102999155" sldId="1608"/>
            <ac:spMk id="3" creationId="{87A20A7B-A25F-31C1-C9CB-8F4DB4F8099A}"/>
          </ac:spMkLst>
        </pc:spChg>
      </pc:sldChg>
      <pc:sldChg chg="del">
        <pc:chgData name="Philip Wenzel" userId="6acc32ce-9657-429b-a204-ad039ae9e71f" providerId="ADAL" clId="{50446564-49CA-4433-B81E-108A4543CFF6}" dt="2024-08-13T15:20:33.391" v="105" actId="47"/>
        <pc:sldMkLst>
          <pc:docMk/>
          <pc:sldMk cId="1357229521" sldId="1644"/>
        </pc:sldMkLst>
      </pc:sldChg>
      <pc:sldChg chg="del">
        <pc:chgData name="Philip Wenzel" userId="6acc32ce-9657-429b-a204-ad039ae9e71f" providerId="ADAL" clId="{50446564-49CA-4433-B81E-108A4543CFF6}" dt="2024-08-13T15:15:26.986" v="20" actId="47"/>
        <pc:sldMkLst>
          <pc:docMk/>
          <pc:sldMk cId="4270938230" sldId="1646"/>
        </pc:sldMkLst>
      </pc:sldChg>
      <pc:sldChg chg="del">
        <pc:chgData name="Philip Wenzel" userId="6acc32ce-9657-429b-a204-ad039ae9e71f" providerId="ADAL" clId="{50446564-49CA-4433-B81E-108A4543CFF6}" dt="2024-08-13T15:15:26.986" v="20" actId="47"/>
        <pc:sldMkLst>
          <pc:docMk/>
          <pc:sldMk cId="2045958582" sldId="1654"/>
        </pc:sldMkLst>
      </pc:sldChg>
      <pc:sldChg chg="modSp mod">
        <pc:chgData name="Philip Wenzel" userId="6acc32ce-9657-429b-a204-ad039ae9e71f" providerId="ADAL" clId="{50446564-49CA-4433-B81E-108A4543CFF6}" dt="2024-08-13T15:21:05.814" v="194" actId="20577"/>
        <pc:sldMkLst>
          <pc:docMk/>
          <pc:sldMk cId="266976824" sldId="1689"/>
        </pc:sldMkLst>
        <pc:spChg chg="mod">
          <ac:chgData name="Philip Wenzel" userId="6acc32ce-9657-429b-a204-ad039ae9e71f" providerId="ADAL" clId="{50446564-49CA-4433-B81E-108A4543CFF6}" dt="2024-08-13T15:21:05.814" v="194" actId="20577"/>
          <ac:spMkLst>
            <pc:docMk/>
            <pc:sldMk cId="266976824" sldId="1689"/>
            <ac:spMk id="3" creationId="{87A20A7B-A25F-31C1-C9CB-8F4DB4F8099A}"/>
          </ac:spMkLst>
        </pc:spChg>
      </pc:sldChg>
      <pc:sldChg chg="del">
        <pc:chgData name="Philip Wenzel" userId="6acc32ce-9657-429b-a204-ad039ae9e71f" providerId="ADAL" clId="{50446564-49CA-4433-B81E-108A4543CFF6}" dt="2024-08-13T15:21:42.017" v="196" actId="47"/>
        <pc:sldMkLst>
          <pc:docMk/>
          <pc:sldMk cId="1987473619" sldId="1710"/>
        </pc:sldMkLst>
      </pc:sldChg>
      <pc:sldChg chg="addSp delSp modSp mod modClrScheme chgLayout">
        <pc:chgData name="Philip Wenzel" userId="6acc32ce-9657-429b-a204-ad039ae9e71f" providerId="ADAL" clId="{50446564-49CA-4433-B81E-108A4543CFF6}" dt="2024-08-13T15:18:24.600" v="95" actId="27614"/>
        <pc:sldMkLst>
          <pc:docMk/>
          <pc:sldMk cId="840562063" sldId="1711"/>
        </pc:sldMkLst>
        <pc:spChg chg="mod ord">
          <ac:chgData name="Philip Wenzel" userId="6acc32ce-9657-429b-a204-ad039ae9e71f" providerId="ADAL" clId="{50446564-49CA-4433-B81E-108A4543CFF6}" dt="2024-08-13T15:16:43.118" v="87" actId="700"/>
          <ac:spMkLst>
            <pc:docMk/>
            <pc:sldMk cId="840562063" sldId="1711"/>
            <ac:spMk id="2" creationId="{4249AB66-CBBB-43EF-9ADD-D056233717BF}"/>
          </ac:spMkLst>
        </pc:spChg>
        <pc:spChg chg="add mod ord">
          <ac:chgData name="Philip Wenzel" userId="6acc32ce-9657-429b-a204-ad039ae9e71f" providerId="ADAL" clId="{50446564-49CA-4433-B81E-108A4543CFF6}" dt="2024-08-13T15:16:59.378" v="90" actId="20577"/>
          <ac:spMkLst>
            <pc:docMk/>
            <pc:sldMk cId="840562063" sldId="1711"/>
            <ac:spMk id="3" creationId="{D75996AE-E296-E1D6-C012-C19B14282DE6}"/>
          </ac:spMkLst>
        </pc:spChg>
        <pc:spChg chg="mod">
          <ac:chgData name="Philip Wenzel" userId="6acc32ce-9657-429b-a204-ad039ae9e71f" providerId="ADAL" clId="{50446564-49CA-4433-B81E-108A4543CFF6}" dt="2024-08-13T15:17:21.563" v="93" actId="14100"/>
          <ac:spMkLst>
            <pc:docMk/>
            <pc:sldMk cId="840562063" sldId="1711"/>
            <ac:spMk id="6" creationId="{208B2CB4-08D8-90D9-3C0E-C968F06C1E73}"/>
          </ac:spMkLst>
        </pc:spChg>
        <pc:spChg chg="add del mod ord">
          <ac:chgData name="Philip Wenzel" userId="6acc32ce-9657-429b-a204-ad039ae9e71f" providerId="ADAL" clId="{50446564-49CA-4433-B81E-108A4543CFF6}" dt="2024-08-13T15:18:17.512" v="94"/>
          <ac:spMkLst>
            <pc:docMk/>
            <pc:sldMk cId="840562063" sldId="1711"/>
            <ac:spMk id="7" creationId="{D62501FB-7035-05C9-D67D-ACA6D55E5A1A}"/>
          </ac:spMkLst>
        </pc:spChg>
        <pc:spChg chg="del mod ord">
          <ac:chgData name="Philip Wenzel" userId="6acc32ce-9657-429b-a204-ad039ae9e71f" providerId="ADAL" clId="{50446564-49CA-4433-B81E-108A4543CFF6}" dt="2024-08-13T15:17:05.879" v="91" actId="478"/>
          <ac:spMkLst>
            <pc:docMk/>
            <pc:sldMk cId="840562063" sldId="1711"/>
            <ac:spMk id="10" creationId="{CE4BC898-CC4E-43C8-8CEF-A9740B265FF4}"/>
          </ac:spMkLst>
        </pc:spChg>
        <pc:spChg chg="del">
          <ac:chgData name="Philip Wenzel" userId="6acc32ce-9657-429b-a204-ad039ae9e71f" providerId="ADAL" clId="{50446564-49CA-4433-B81E-108A4543CFF6}" dt="2024-08-13T15:16:21.674" v="84" actId="478"/>
          <ac:spMkLst>
            <pc:docMk/>
            <pc:sldMk cId="840562063" sldId="1711"/>
            <ac:spMk id="82" creationId="{5483EE49-E78E-3311-2F39-3452AEBDA5C9}"/>
          </ac:spMkLst>
        </pc:spChg>
        <pc:grpChg chg="del">
          <ac:chgData name="Philip Wenzel" userId="6acc32ce-9657-429b-a204-ad039ae9e71f" providerId="ADAL" clId="{50446564-49CA-4433-B81E-108A4543CFF6}" dt="2024-08-13T15:16:24.858" v="85" actId="478"/>
          <ac:grpSpMkLst>
            <pc:docMk/>
            <pc:sldMk cId="840562063" sldId="1711"/>
            <ac:grpSpMk id="4" creationId="{3AD23397-8F54-DD91-34EA-62F95FE54EB2}"/>
          </ac:grpSpMkLst>
        </pc:grpChg>
        <pc:picChg chg="add mod">
          <ac:chgData name="Philip Wenzel" userId="6acc32ce-9657-429b-a204-ad039ae9e71f" providerId="ADAL" clId="{50446564-49CA-4433-B81E-108A4543CFF6}" dt="2024-08-13T15:18:24.600" v="95" actId="27614"/>
          <ac:picMkLst>
            <pc:docMk/>
            <pc:sldMk cId="840562063" sldId="1711"/>
            <ac:picMk id="9" creationId="{077C4844-75D2-4D13-C785-647C5EDF5279}"/>
          </ac:picMkLst>
        </pc:picChg>
      </pc:sldChg>
      <pc:sldChg chg="addSp delSp modSp mod modClrScheme chgLayout">
        <pc:chgData name="Philip Wenzel" userId="6acc32ce-9657-429b-a204-ad039ae9e71f" providerId="ADAL" clId="{50446564-49CA-4433-B81E-108A4543CFF6}" dt="2024-08-13T15:19:49.511" v="104" actId="27614"/>
        <pc:sldMkLst>
          <pc:docMk/>
          <pc:sldMk cId="1204113937" sldId="1712"/>
        </pc:sldMkLst>
        <pc:spChg chg="mod ord">
          <ac:chgData name="Philip Wenzel" userId="6acc32ce-9657-429b-a204-ad039ae9e71f" providerId="ADAL" clId="{50446564-49CA-4433-B81E-108A4543CFF6}" dt="2024-08-13T15:18:43.881" v="96" actId="700"/>
          <ac:spMkLst>
            <pc:docMk/>
            <pc:sldMk cId="1204113937" sldId="1712"/>
            <ac:spMk id="2" creationId="{4249AB66-CBBB-43EF-9ADD-D056233717BF}"/>
          </ac:spMkLst>
        </pc:spChg>
        <pc:spChg chg="add del mod ord">
          <ac:chgData name="Philip Wenzel" userId="6acc32ce-9657-429b-a204-ad039ae9e71f" providerId="ADAL" clId="{50446564-49CA-4433-B81E-108A4543CFF6}" dt="2024-08-13T15:19:42.683" v="103"/>
          <ac:spMkLst>
            <pc:docMk/>
            <pc:sldMk cId="1204113937" sldId="1712"/>
            <ac:spMk id="3" creationId="{1F577E3C-94A1-13BD-E21B-727DFE062010}"/>
          </ac:spMkLst>
        </pc:spChg>
        <pc:spChg chg="mod">
          <ac:chgData name="Philip Wenzel" userId="6acc32ce-9657-429b-a204-ad039ae9e71f" providerId="ADAL" clId="{50446564-49CA-4433-B81E-108A4543CFF6}" dt="2024-08-13T15:19:18.174" v="101" actId="14100"/>
          <ac:spMkLst>
            <pc:docMk/>
            <pc:sldMk cId="1204113937" sldId="1712"/>
            <ac:spMk id="6" creationId="{208B2CB4-08D8-90D9-3C0E-C968F06C1E73}"/>
          </ac:spMkLst>
        </pc:spChg>
        <pc:spChg chg="add del mod ord">
          <ac:chgData name="Philip Wenzel" userId="6acc32ce-9657-429b-a204-ad039ae9e71f" providerId="ADAL" clId="{50446564-49CA-4433-B81E-108A4543CFF6}" dt="2024-08-13T15:18:55.405" v="98"/>
          <ac:spMkLst>
            <pc:docMk/>
            <pc:sldMk cId="1204113937" sldId="1712"/>
            <ac:spMk id="7" creationId="{C780AA89-5C94-FEA0-EB0B-CEA8E280DCD5}"/>
          </ac:spMkLst>
        </pc:spChg>
        <pc:spChg chg="add del mod">
          <ac:chgData name="Philip Wenzel" userId="6acc32ce-9657-429b-a204-ad039ae9e71f" providerId="ADAL" clId="{50446564-49CA-4433-B81E-108A4543CFF6}" dt="2024-08-13T15:19:09.318" v="99" actId="478"/>
          <ac:spMkLst>
            <pc:docMk/>
            <pc:sldMk cId="1204113937" sldId="1712"/>
            <ac:spMk id="9" creationId="{6C48A79B-4923-3CD3-B84B-85484C6820C4}"/>
          </ac:spMkLst>
        </pc:spChg>
        <pc:spChg chg="del mod ord">
          <ac:chgData name="Philip Wenzel" userId="6acc32ce-9657-429b-a204-ad039ae9e71f" providerId="ADAL" clId="{50446564-49CA-4433-B81E-108A4543CFF6}" dt="2024-08-13T15:18:52.884" v="97" actId="21"/>
          <ac:spMkLst>
            <pc:docMk/>
            <pc:sldMk cId="1204113937" sldId="1712"/>
            <ac:spMk id="10" creationId="{CE4BC898-CC4E-43C8-8CEF-A9740B265FF4}"/>
          </ac:spMkLst>
        </pc:spChg>
        <pc:spChg chg="add mod">
          <ac:chgData name="Philip Wenzel" userId="6acc32ce-9657-429b-a204-ad039ae9e71f" providerId="ADAL" clId="{50446564-49CA-4433-B81E-108A4543CFF6}" dt="2024-08-13T15:18:55.405" v="98"/>
          <ac:spMkLst>
            <pc:docMk/>
            <pc:sldMk cId="1204113937" sldId="1712"/>
            <ac:spMk id="11" creationId="{D8E40479-6E3F-1D23-61B0-931E8C917CA7}"/>
          </ac:spMkLst>
        </pc:spChg>
        <pc:grpChg chg="del">
          <ac:chgData name="Philip Wenzel" userId="6acc32ce-9657-429b-a204-ad039ae9e71f" providerId="ADAL" clId="{50446564-49CA-4433-B81E-108A4543CFF6}" dt="2024-08-13T15:16:31.776" v="86" actId="478"/>
          <ac:grpSpMkLst>
            <pc:docMk/>
            <pc:sldMk cId="1204113937" sldId="1712"/>
            <ac:grpSpMk id="4" creationId="{3AD23397-8F54-DD91-34EA-62F95FE54EB2}"/>
          </ac:grpSpMkLst>
        </pc:grpChg>
        <pc:picChg chg="add mod">
          <ac:chgData name="Philip Wenzel" userId="6acc32ce-9657-429b-a204-ad039ae9e71f" providerId="ADAL" clId="{50446564-49CA-4433-B81E-108A4543CFF6}" dt="2024-08-13T15:19:49.511" v="104" actId="27614"/>
          <ac:picMkLst>
            <pc:docMk/>
            <pc:sldMk cId="1204113937" sldId="1712"/>
            <ac:picMk id="14" creationId="{37F4FC56-6419-D91E-46C5-7E6C5E337D67}"/>
          </ac:picMkLst>
        </pc:picChg>
      </pc:sldChg>
      <pc:sldChg chg="del">
        <pc:chgData name="Philip Wenzel" userId="6acc32ce-9657-429b-a204-ad039ae9e71f" providerId="ADAL" clId="{50446564-49CA-4433-B81E-108A4543CFF6}" dt="2024-08-13T15:20:33.391" v="105" actId="47"/>
        <pc:sldMkLst>
          <pc:docMk/>
          <pc:sldMk cId="3111372634" sldId="1714"/>
        </pc:sldMkLst>
      </pc:sldChg>
      <pc:sldChg chg="del">
        <pc:chgData name="Philip Wenzel" userId="6acc32ce-9657-429b-a204-ad039ae9e71f" providerId="ADAL" clId="{50446564-49CA-4433-B81E-108A4543CFF6}" dt="2024-08-13T15:21:33.497" v="195" actId="47"/>
        <pc:sldMkLst>
          <pc:docMk/>
          <pc:sldMk cId="631636867" sldId="1715"/>
        </pc:sldMkLst>
      </pc:sldChg>
      <pc:sldChg chg="delSp modSp mod delAnim modAnim">
        <pc:chgData name="Philip Wenzel" userId="6acc32ce-9657-429b-a204-ad039ae9e71f" providerId="ADAL" clId="{50446564-49CA-4433-B81E-108A4543CFF6}" dt="2024-08-13T15:26:41.425" v="798" actId="20577"/>
        <pc:sldMkLst>
          <pc:docMk/>
          <pc:sldMk cId="1283101686" sldId="1716"/>
        </pc:sldMkLst>
        <pc:spChg chg="mod">
          <ac:chgData name="Philip Wenzel" userId="6acc32ce-9657-429b-a204-ad039ae9e71f" providerId="ADAL" clId="{50446564-49CA-4433-B81E-108A4543CFF6}" dt="2024-08-13T15:26:41.425" v="798" actId="20577"/>
          <ac:spMkLst>
            <pc:docMk/>
            <pc:sldMk cId="1283101686" sldId="1716"/>
            <ac:spMk id="3" creationId="{DF4EFF8A-432F-EE7B-9094-9DB92A4FC2EF}"/>
          </ac:spMkLst>
        </pc:spChg>
        <pc:spChg chg="del">
          <ac:chgData name="Philip Wenzel" userId="6acc32ce-9657-429b-a204-ad039ae9e71f" providerId="ADAL" clId="{50446564-49CA-4433-B81E-108A4543CFF6}" dt="2024-08-13T15:22:12.302" v="197" actId="478"/>
          <ac:spMkLst>
            <pc:docMk/>
            <pc:sldMk cId="1283101686" sldId="1716"/>
            <ac:spMk id="12" creationId="{FBBE8AEA-A05F-DEC6-1734-EA240E722304}"/>
          </ac:spMkLst>
        </pc:spChg>
        <pc:picChg chg="del">
          <ac:chgData name="Philip Wenzel" userId="6acc32ce-9657-429b-a204-ad039ae9e71f" providerId="ADAL" clId="{50446564-49CA-4433-B81E-108A4543CFF6}" dt="2024-08-13T15:22:12.302" v="197" actId="478"/>
          <ac:picMkLst>
            <pc:docMk/>
            <pc:sldMk cId="1283101686" sldId="1716"/>
            <ac:picMk id="7" creationId="{445CA07E-EDE3-8A57-175A-C4B2B25BE7E1}"/>
          </ac:picMkLst>
        </pc:picChg>
        <pc:picChg chg="del">
          <ac:chgData name="Philip Wenzel" userId="6acc32ce-9657-429b-a204-ad039ae9e71f" providerId="ADAL" clId="{50446564-49CA-4433-B81E-108A4543CFF6}" dt="2024-08-13T15:22:12.302" v="197" actId="478"/>
          <ac:picMkLst>
            <pc:docMk/>
            <pc:sldMk cId="1283101686" sldId="1716"/>
            <ac:picMk id="9" creationId="{87082FE5-F498-2B0D-1235-472761139009}"/>
          </ac:picMkLst>
        </pc:picChg>
        <pc:picChg chg="del">
          <ac:chgData name="Philip Wenzel" userId="6acc32ce-9657-429b-a204-ad039ae9e71f" providerId="ADAL" clId="{50446564-49CA-4433-B81E-108A4543CFF6}" dt="2024-08-13T15:22:12.302" v="197" actId="478"/>
          <ac:picMkLst>
            <pc:docMk/>
            <pc:sldMk cId="1283101686" sldId="1716"/>
            <ac:picMk id="11" creationId="{6562BEB5-EA25-6290-77AF-9E0D662DD05A}"/>
          </ac:picMkLst>
        </pc:picChg>
      </pc:sldChg>
      <pc:sldChg chg="del">
        <pc:chgData name="Philip Wenzel" userId="6acc32ce-9657-429b-a204-ad039ae9e71f" providerId="ADAL" clId="{50446564-49CA-4433-B81E-108A4543CFF6}" dt="2024-08-13T15:26:08.840" v="670" actId="2696"/>
        <pc:sldMkLst>
          <pc:docMk/>
          <pc:sldMk cId="314732457" sldId="1717"/>
        </pc:sldMkLst>
      </pc:sldChg>
      <pc:sldChg chg="del">
        <pc:chgData name="Philip Wenzel" userId="6acc32ce-9657-429b-a204-ad039ae9e71f" providerId="ADAL" clId="{50446564-49CA-4433-B81E-108A4543CFF6}" dt="2024-08-13T15:20:33.391" v="105" actId="47"/>
        <pc:sldMkLst>
          <pc:docMk/>
          <pc:sldMk cId="4108187951" sldId="1718"/>
        </pc:sldMkLst>
      </pc:sldChg>
    </pc:docChg>
  </pc:docChgLst>
  <pc:docChgLst>
    <pc:chgData name="Philip Wenzel" userId="6acc32ce-9657-429b-a204-ad039ae9e71f" providerId="ADAL" clId="{74301E7D-7248-47CD-86E0-745BD03D01ED}"/>
    <pc:docChg chg="undo custSel addSld delSld modSld sldOrd modSection">
      <pc:chgData name="Philip Wenzel" userId="6acc32ce-9657-429b-a204-ad039ae9e71f" providerId="ADAL" clId="{74301E7D-7248-47CD-86E0-745BD03D01ED}" dt="2024-05-23T12:23:02.672" v="2016" actId="20577"/>
      <pc:docMkLst>
        <pc:docMk/>
      </pc:docMkLst>
      <pc:sldChg chg="addSp delSp modSp mod modClrScheme modAnim chgLayout">
        <pc:chgData name="Philip Wenzel" userId="6acc32ce-9657-429b-a204-ad039ae9e71f" providerId="ADAL" clId="{74301E7D-7248-47CD-86E0-745BD03D01ED}" dt="2024-05-06T06:11:52.402" v="1468" actId="27614"/>
        <pc:sldMkLst>
          <pc:docMk/>
          <pc:sldMk cId="3071119971" sldId="286"/>
        </pc:sldMkLst>
        <pc:spChg chg="mod ord">
          <ac:chgData name="Philip Wenzel" userId="6acc32ce-9657-429b-a204-ad039ae9e71f" providerId="ADAL" clId="{74301E7D-7248-47CD-86E0-745BD03D01ED}" dt="2024-05-03T09:55:47.044" v="1441" actId="700"/>
          <ac:spMkLst>
            <pc:docMk/>
            <pc:sldMk cId="3071119971" sldId="286"/>
            <ac:spMk id="2" creationId="{4249AB66-CBBB-43EF-9ADD-D056233717BF}"/>
          </ac:spMkLst>
        </pc:spChg>
        <pc:spChg chg="mod">
          <ac:chgData name="Philip Wenzel" userId="6acc32ce-9657-429b-a204-ad039ae9e71f" providerId="ADAL" clId="{74301E7D-7248-47CD-86E0-745BD03D01ED}" dt="2024-05-03T09:55:40.992" v="1440" actId="14100"/>
          <ac:spMkLst>
            <pc:docMk/>
            <pc:sldMk cId="3071119971" sldId="286"/>
            <ac:spMk id="3" creationId="{DF4EFF8A-432F-EE7B-9094-9DB92A4FC2EF}"/>
          </ac:spMkLst>
        </pc:spChg>
        <pc:spChg chg="add mod ord">
          <ac:chgData name="Philip Wenzel" userId="6acc32ce-9657-429b-a204-ad039ae9e71f" providerId="ADAL" clId="{74301E7D-7248-47CD-86E0-745BD03D01ED}" dt="2024-05-03T09:55:54.864" v="1460" actId="20577"/>
          <ac:spMkLst>
            <pc:docMk/>
            <pc:sldMk cId="3071119971" sldId="286"/>
            <ac:spMk id="4" creationId="{AC70F28A-1FDE-0A1D-F3D8-DAA41D7AAC85}"/>
          </ac:spMkLst>
        </pc:spChg>
        <pc:spChg chg="del mod ord">
          <ac:chgData name="Philip Wenzel" userId="6acc32ce-9657-429b-a204-ad039ae9e71f" providerId="ADAL" clId="{74301E7D-7248-47CD-86E0-745BD03D01ED}" dt="2024-05-03T09:56:01.964" v="1461" actId="478"/>
          <ac:spMkLst>
            <pc:docMk/>
            <pc:sldMk cId="3071119971" sldId="286"/>
            <ac:spMk id="6" creationId="{D92FBF1F-0791-ECBB-5B14-DA9F7BCC4081}"/>
          </ac:spMkLst>
        </pc:spChg>
        <pc:spChg chg="add del mod ord">
          <ac:chgData name="Philip Wenzel" userId="6acc32ce-9657-429b-a204-ad039ae9e71f" providerId="ADAL" clId="{74301E7D-7248-47CD-86E0-745BD03D01ED}" dt="2024-05-06T06:11:16.150" v="1463"/>
          <ac:spMkLst>
            <pc:docMk/>
            <pc:sldMk cId="3071119971" sldId="286"/>
            <ac:spMk id="7" creationId="{FD35AD47-A703-B54D-8C19-E85D2767D503}"/>
          </ac:spMkLst>
        </pc:spChg>
        <pc:spChg chg="add del mod">
          <ac:chgData name="Philip Wenzel" userId="6acc32ce-9657-429b-a204-ad039ae9e71f" providerId="ADAL" clId="{74301E7D-7248-47CD-86E0-745BD03D01ED}" dt="2024-05-03T09:56:07.655" v="1462" actId="478"/>
          <ac:spMkLst>
            <pc:docMk/>
            <pc:sldMk cId="3071119971" sldId="286"/>
            <ac:spMk id="9" creationId="{BF16AA91-E25A-9C13-E389-7F3DFBEC14B8}"/>
          </ac:spMkLst>
        </pc:spChg>
        <pc:spChg chg="add del mod">
          <ac:chgData name="Philip Wenzel" userId="6acc32ce-9657-429b-a204-ad039ae9e71f" providerId="ADAL" clId="{74301E7D-7248-47CD-86E0-745BD03D01ED}" dt="2024-05-06T06:11:45.573" v="1467"/>
          <ac:spMkLst>
            <pc:docMk/>
            <pc:sldMk cId="3071119971" sldId="286"/>
            <ac:spMk id="10" creationId="{469688F7-EA1D-9093-80FE-F593D65B25BE}"/>
          </ac:spMkLst>
        </pc:spChg>
        <pc:picChg chg="add del mod">
          <ac:chgData name="Philip Wenzel" userId="6acc32ce-9657-429b-a204-ad039ae9e71f" providerId="ADAL" clId="{74301E7D-7248-47CD-86E0-745BD03D01ED}" dt="2024-05-06T06:11:27.569" v="1466" actId="478"/>
          <ac:picMkLst>
            <pc:docMk/>
            <pc:sldMk cId="3071119971" sldId="286"/>
            <ac:picMk id="8" creationId="{BFCEA017-8A15-3745-2A53-A1E1B824A541}"/>
          </ac:picMkLst>
        </pc:picChg>
        <pc:picChg chg="add mod">
          <ac:chgData name="Philip Wenzel" userId="6acc32ce-9657-429b-a204-ad039ae9e71f" providerId="ADAL" clId="{74301E7D-7248-47CD-86E0-745BD03D01ED}" dt="2024-05-06T06:11:52.402" v="1468" actId="27614"/>
          <ac:picMkLst>
            <pc:docMk/>
            <pc:sldMk cId="3071119971" sldId="286"/>
            <ac:picMk id="12" creationId="{0FA33F6A-1F2A-8B5B-2D50-E1D3E29FC0C8}"/>
          </ac:picMkLst>
        </pc:picChg>
      </pc:sldChg>
      <pc:sldChg chg="modSp mod ord">
        <pc:chgData name="Philip Wenzel" userId="6acc32ce-9657-429b-a204-ad039ae9e71f" providerId="ADAL" clId="{74301E7D-7248-47CD-86E0-745BD03D01ED}" dt="2024-05-23T12:23:02.672" v="2016" actId="20577"/>
        <pc:sldMkLst>
          <pc:docMk/>
          <pc:sldMk cId="102999155" sldId="1608"/>
        </pc:sldMkLst>
        <pc:spChg chg="mod">
          <ac:chgData name="Philip Wenzel" userId="6acc32ce-9657-429b-a204-ad039ae9e71f" providerId="ADAL" clId="{74301E7D-7248-47CD-86E0-745BD03D01ED}" dt="2024-05-23T12:23:02.672" v="2016" actId="20577"/>
          <ac:spMkLst>
            <pc:docMk/>
            <pc:sldMk cId="102999155" sldId="1608"/>
            <ac:spMk id="3" creationId="{87A20A7B-A25F-31C1-C9CB-8F4DB4F8099A}"/>
          </ac:spMkLst>
        </pc:spChg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174452327" sldId="1640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337636755" sldId="1642"/>
        </pc:sldMkLst>
      </pc:sldChg>
      <pc:sldChg chg="modSp mod ord">
        <pc:chgData name="Philip Wenzel" userId="6acc32ce-9657-429b-a204-ad039ae9e71f" providerId="ADAL" clId="{74301E7D-7248-47CD-86E0-745BD03D01ED}" dt="2024-04-11T07:26:47.450" v="60"/>
        <pc:sldMkLst>
          <pc:docMk/>
          <pc:sldMk cId="4270938230" sldId="1646"/>
        </pc:sldMkLst>
        <pc:spChg chg="mod">
          <ac:chgData name="Philip Wenzel" userId="6acc32ce-9657-429b-a204-ad039ae9e71f" providerId="ADAL" clId="{74301E7D-7248-47CD-86E0-745BD03D01ED}" dt="2024-04-11T07:26:35.235" v="57" actId="21"/>
          <ac:spMkLst>
            <pc:docMk/>
            <pc:sldMk cId="4270938230" sldId="1646"/>
            <ac:spMk id="3" creationId="{87A20A7B-A25F-31C1-C9CB-8F4DB4F8099A}"/>
          </ac:spMkLst>
        </pc:spChg>
      </pc:sldChg>
      <pc:sldChg chg="addSp delSp modSp mod modAnim">
        <pc:chgData name="Philip Wenzel" userId="6acc32ce-9657-429b-a204-ad039ae9e71f" providerId="ADAL" clId="{74301E7D-7248-47CD-86E0-745BD03D01ED}" dt="2024-05-23T11:38:33.708" v="1519"/>
        <pc:sldMkLst>
          <pc:docMk/>
          <pc:sldMk cId="2045958582" sldId="1654"/>
        </pc:sldMkLst>
        <pc:spChg chg="add mod">
          <ac:chgData name="Philip Wenzel" userId="6acc32ce-9657-429b-a204-ad039ae9e71f" providerId="ADAL" clId="{74301E7D-7248-47CD-86E0-745BD03D01ED}" dt="2024-05-23T11:38:26.059" v="1518" actId="1076"/>
          <ac:spMkLst>
            <pc:docMk/>
            <pc:sldMk cId="2045958582" sldId="1654"/>
            <ac:spMk id="3" creationId="{82793287-87A3-9BB3-FCCA-5B43A25BF1EA}"/>
          </ac:spMkLst>
        </pc:spChg>
        <pc:spChg chg="add del mod">
          <ac:chgData name="Philip Wenzel" userId="6acc32ce-9657-429b-a204-ad039ae9e71f" providerId="ADAL" clId="{74301E7D-7248-47CD-86E0-745BD03D01ED}" dt="2024-04-26T09:41:58.650" v="1415" actId="478"/>
          <ac:spMkLst>
            <pc:docMk/>
            <pc:sldMk cId="2045958582" sldId="1654"/>
            <ac:spMk id="68" creationId="{B241DD3E-FC66-E516-35DC-FE01F624993C}"/>
          </ac:spMkLst>
        </pc:spChg>
        <pc:grpChg chg="mod">
          <ac:chgData name="Philip Wenzel" userId="6acc32ce-9657-429b-a204-ad039ae9e71f" providerId="ADAL" clId="{74301E7D-7248-47CD-86E0-745BD03D01ED}" dt="2024-05-23T11:38:09.740" v="1517" actId="1076"/>
          <ac:grpSpMkLst>
            <pc:docMk/>
            <pc:sldMk cId="2045958582" sldId="1654"/>
            <ac:grpSpMk id="4" creationId="{3AD23397-8F54-DD91-34EA-62F95FE54EB2}"/>
          </ac:grpSpMkLst>
        </pc:grpChg>
        <pc:cxnChg chg="add del mod">
          <ac:chgData name="Philip Wenzel" userId="6acc32ce-9657-429b-a204-ad039ae9e71f" providerId="ADAL" clId="{74301E7D-7248-47CD-86E0-745BD03D01ED}" dt="2024-04-26T09:41:23.736" v="1410" actId="478"/>
          <ac:cxnSpMkLst>
            <pc:docMk/>
            <pc:sldMk cId="2045958582" sldId="1654"/>
            <ac:cxnSpMk id="80" creationId="{98F7AA4E-DACC-1C45-423E-5C536718EB68}"/>
          </ac:cxnSpMkLst>
        </pc:cxnChg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427736484" sldId="1663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249115001" sldId="1668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167883223" sldId="1669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687670586" sldId="1670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143225576" sldId="1673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777377501" sldId="1674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897335136" sldId="1675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685633474" sldId="1676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925143432" sldId="1677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910805322" sldId="1678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873940636" sldId="1679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51930292" sldId="1680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884104057" sldId="1681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4152781578" sldId="1682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614845156" sldId="1683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107482331" sldId="1684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133204788" sldId="1685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515551548" sldId="1687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643481744" sldId="1688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049981512" sldId="1690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352227928" sldId="1691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004957" sldId="1692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735053113" sldId="1693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49840864" sldId="1694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890983792" sldId="1695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258294644" sldId="1696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449275071" sldId="1697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4031857166" sldId="1698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280391148" sldId="1699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2038731542" sldId="1700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286308785" sldId="1701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297044565" sldId="1702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710197236" sldId="1703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427014688" sldId="1704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67176381" sldId="1705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1807580791" sldId="1706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4085616546" sldId="1707"/>
        </pc:sldMkLst>
      </pc:sldChg>
      <pc:sldChg chg="del">
        <pc:chgData name="Philip Wenzel" userId="6acc32ce-9657-429b-a204-ad039ae9e71f" providerId="ADAL" clId="{74301E7D-7248-47CD-86E0-745BD03D01ED}" dt="2024-04-11T08:12:12.399" v="272" actId="47"/>
        <pc:sldMkLst>
          <pc:docMk/>
          <pc:sldMk cId="3208767776" sldId="1708"/>
        </pc:sldMkLst>
      </pc:sldChg>
      <pc:sldChg chg="addSp delSp modSp mod modClrScheme addAnim delAnim modAnim chgLayout">
        <pc:chgData name="Philip Wenzel" userId="6acc32ce-9657-429b-a204-ad039ae9e71f" providerId="ADAL" clId="{74301E7D-7248-47CD-86E0-745BD03D01ED}" dt="2024-05-21T12:14:04.193" v="1481" actId="18131"/>
        <pc:sldMkLst>
          <pc:docMk/>
          <pc:sldMk cId="1987473619" sldId="1710"/>
        </pc:sldMkLst>
        <pc:spChg chg="mod ord">
          <ac:chgData name="Philip Wenzel" userId="6acc32ce-9657-429b-a204-ad039ae9e71f" providerId="ADAL" clId="{74301E7D-7248-47CD-86E0-745BD03D01ED}" dt="2024-05-03T09:51:21.977" v="1418" actId="700"/>
          <ac:spMkLst>
            <pc:docMk/>
            <pc:sldMk cId="1987473619" sldId="1710"/>
            <ac:spMk id="2" creationId="{4249AB66-CBBB-43EF-9ADD-D056233717BF}"/>
          </ac:spMkLst>
        </pc:spChg>
        <pc:spChg chg="add del mod">
          <ac:chgData name="Philip Wenzel" userId="6acc32ce-9657-429b-a204-ad039ae9e71f" providerId="ADAL" clId="{74301E7D-7248-47CD-86E0-745BD03D01ED}" dt="2024-05-03T09:51:56.219" v="1428" actId="1076"/>
          <ac:spMkLst>
            <pc:docMk/>
            <pc:sldMk cId="1987473619" sldId="1710"/>
            <ac:spMk id="3" creationId="{DF4EFF8A-432F-EE7B-9094-9DB92A4FC2EF}"/>
          </ac:spMkLst>
        </pc:spChg>
        <pc:spChg chg="add del mod ord">
          <ac:chgData name="Philip Wenzel" userId="6acc32ce-9657-429b-a204-ad039ae9e71f" providerId="ADAL" clId="{74301E7D-7248-47CD-86E0-745BD03D01ED}" dt="2024-05-06T06:12:01.206" v="1469"/>
          <ac:spMkLst>
            <pc:docMk/>
            <pc:sldMk cId="1987473619" sldId="1710"/>
            <ac:spMk id="4" creationId="{10DB2DB4-98A5-CE44-A4BC-98E95E44CE16}"/>
          </ac:spMkLst>
        </pc:spChg>
        <pc:spChg chg="add mod ord">
          <ac:chgData name="Philip Wenzel" userId="6acc32ce-9657-429b-a204-ad039ae9e71f" providerId="ADAL" clId="{74301E7D-7248-47CD-86E0-745BD03D01ED}" dt="2024-05-03T09:51:44.545" v="1427" actId="20577"/>
          <ac:spMkLst>
            <pc:docMk/>
            <pc:sldMk cId="1987473619" sldId="1710"/>
            <ac:spMk id="6" creationId="{51571477-C80A-E049-A88A-C80D5B5D8BFF}"/>
          </ac:spMkLst>
        </pc:spChg>
        <pc:spChg chg="add del mod">
          <ac:chgData name="Philip Wenzel" userId="6acc32ce-9657-429b-a204-ad039ae9e71f" providerId="ADAL" clId="{74301E7D-7248-47CD-86E0-745BD03D01ED}" dt="2024-05-21T10:48:37.758" v="1472"/>
          <ac:spMkLst>
            <pc:docMk/>
            <pc:sldMk cId="1987473619" sldId="1710"/>
            <ac:spMk id="7" creationId="{16B2AC34-B842-9101-FC71-2AAB6EAAC131}"/>
          </ac:spMkLst>
        </pc:spChg>
        <pc:spChg chg="add del mod">
          <ac:chgData name="Philip Wenzel" userId="6acc32ce-9657-429b-a204-ad039ae9e71f" providerId="ADAL" clId="{74301E7D-7248-47CD-86E0-745BD03D01ED}" dt="2024-05-03T09:51:41.730" v="1422" actId="478"/>
          <ac:spMkLst>
            <pc:docMk/>
            <pc:sldMk cId="1987473619" sldId="1710"/>
            <ac:spMk id="8" creationId="{A0E69B5F-D7C8-DB81-7595-62C7356CF39F}"/>
          </ac:spMkLst>
        </pc:spChg>
        <pc:spChg chg="del mod ord">
          <ac:chgData name="Philip Wenzel" userId="6acc32ce-9657-429b-a204-ad039ae9e71f" providerId="ADAL" clId="{74301E7D-7248-47CD-86E0-745BD03D01ED}" dt="2024-05-03T09:51:40.612" v="1421" actId="478"/>
          <ac:spMkLst>
            <pc:docMk/>
            <pc:sldMk cId="1987473619" sldId="1710"/>
            <ac:spMk id="10" creationId="{CE4BC898-CC4E-43C8-8CEF-A9740B265FF4}"/>
          </ac:spMkLst>
        </pc:spChg>
        <pc:spChg chg="add del mod">
          <ac:chgData name="Philip Wenzel" userId="6acc32ce-9657-429b-a204-ad039ae9e71f" providerId="ADAL" clId="{74301E7D-7248-47CD-86E0-745BD03D01ED}" dt="2024-05-21T10:49:00.890" v="1476"/>
          <ac:spMkLst>
            <pc:docMk/>
            <pc:sldMk cId="1987473619" sldId="1710"/>
            <ac:spMk id="12" creationId="{2233AA76-64FE-36CD-206E-F808E51824F5}"/>
          </ac:spMkLst>
        </pc:spChg>
        <pc:spChg chg="add del mod">
          <ac:chgData name="Philip Wenzel" userId="6acc32ce-9657-429b-a204-ad039ae9e71f" providerId="ADAL" clId="{74301E7D-7248-47CD-86E0-745BD03D01ED}" dt="2024-05-21T12:13:54.163" v="1478"/>
          <ac:spMkLst>
            <pc:docMk/>
            <pc:sldMk cId="1987473619" sldId="1710"/>
            <ac:spMk id="16" creationId="{00C146A4-595D-D771-6AAA-80AFAA158EBD}"/>
          </ac:spMkLst>
        </pc:spChg>
        <pc:picChg chg="add del mod">
          <ac:chgData name="Philip Wenzel" userId="6acc32ce-9657-429b-a204-ad039ae9e71f" providerId="ADAL" clId="{74301E7D-7248-47CD-86E0-745BD03D01ED}" dt="2024-05-21T10:48:34.628" v="1471" actId="478"/>
          <ac:picMkLst>
            <pc:docMk/>
            <pc:sldMk cId="1987473619" sldId="1710"/>
            <ac:picMk id="8" creationId="{D50C2AC3-F706-2DE2-DDE9-2B199ADEED77}"/>
          </ac:picMkLst>
        </pc:picChg>
        <pc:picChg chg="add del mod">
          <ac:chgData name="Philip Wenzel" userId="6acc32ce-9657-429b-a204-ad039ae9e71f" providerId="ADAL" clId="{74301E7D-7248-47CD-86E0-745BD03D01ED}" dt="2024-05-21T10:48:53.911" v="1475" actId="478"/>
          <ac:picMkLst>
            <pc:docMk/>
            <pc:sldMk cId="1987473619" sldId="1710"/>
            <ac:picMk id="10" creationId="{8A21C1A6-E6C5-BB4E-AD8F-3411E0938D81}"/>
          </ac:picMkLst>
        </pc:picChg>
        <pc:picChg chg="add del mod">
          <ac:chgData name="Philip Wenzel" userId="6acc32ce-9657-429b-a204-ad039ae9e71f" providerId="ADAL" clId="{74301E7D-7248-47CD-86E0-745BD03D01ED}" dt="2024-05-21T10:49:03.830" v="1477" actId="478"/>
          <ac:picMkLst>
            <pc:docMk/>
            <pc:sldMk cId="1987473619" sldId="1710"/>
            <ac:picMk id="14" creationId="{2E9E5503-0A86-F9B4-2739-80332416B18C}"/>
          </ac:picMkLst>
        </pc:picChg>
        <pc:picChg chg="add mod modCrop">
          <ac:chgData name="Philip Wenzel" userId="6acc32ce-9657-429b-a204-ad039ae9e71f" providerId="ADAL" clId="{74301E7D-7248-47CD-86E0-745BD03D01ED}" dt="2024-05-21T12:14:04.193" v="1481" actId="18131"/>
          <ac:picMkLst>
            <pc:docMk/>
            <pc:sldMk cId="1987473619" sldId="1710"/>
            <ac:picMk id="18" creationId="{98D4A5E3-38C5-88E3-8489-2BB95C1661C2}"/>
          </ac:picMkLst>
        </pc:picChg>
      </pc:sldChg>
      <pc:sldChg chg="modSp mod modAnim">
        <pc:chgData name="Philip Wenzel" userId="6acc32ce-9657-429b-a204-ad039ae9e71f" providerId="ADAL" clId="{74301E7D-7248-47CD-86E0-745BD03D01ED}" dt="2024-04-26T09:42:07.259" v="1416" actId="20577"/>
        <pc:sldMkLst>
          <pc:docMk/>
          <pc:sldMk cId="840562063" sldId="1711"/>
        </pc:sldMkLst>
        <pc:spChg chg="mod">
          <ac:chgData name="Philip Wenzel" userId="6acc32ce-9657-429b-a204-ad039ae9e71f" providerId="ADAL" clId="{74301E7D-7248-47CD-86E0-745BD03D01ED}" dt="2024-04-11T10:30:09.426" v="1396" actId="5793"/>
          <ac:spMkLst>
            <pc:docMk/>
            <pc:sldMk cId="840562063" sldId="1711"/>
            <ac:spMk id="6" creationId="{208B2CB4-08D8-90D9-3C0E-C968F06C1E73}"/>
          </ac:spMkLst>
        </pc:spChg>
        <pc:spChg chg="mod">
          <ac:chgData name="Philip Wenzel" userId="6acc32ce-9657-429b-a204-ad039ae9e71f" providerId="ADAL" clId="{74301E7D-7248-47CD-86E0-745BD03D01ED}" dt="2024-04-26T09:42:07.259" v="1416" actId="20577"/>
          <ac:spMkLst>
            <pc:docMk/>
            <pc:sldMk cId="840562063" sldId="1711"/>
            <ac:spMk id="68" creationId="{B241DD3E-FC66-E516-35DC-FE01F624993C}"/>
          </ac:spMkLst>
        </pc:spChg>
      </pc:sldChg>
      <pc:sldChg chg="modSp mod">
        <pc:chgData name="Philip Wenzel" userId="6acc32ce-9657-429b-a204-ad039ae9e71f" providerId="ADAL" clId="{74301E7D-7248-47CD-86E0-745BD03D01ED}" dt="2024-04-26T09:42:13.153" v="1417" actId="20577"/>
        <pc:sldMkLst>
          <pc:docMk/>
          <pc:sldMk cId="1204113937" sldId="1712"/>
        </pc:sldMkLst>
        <pc:spChg chg="mod">
          <ac:chgData name="Philip Wenzel" userId="6acc32ce-9657-429b-a204-ad039ae9e71f" providerId="ADAL" clId="{74301E7D-7248-47CD-86E0-745BD03D01ED}" dt="2024-04-26T09:42:13.153" v="1417" actId="20577"/>
          <ac:spMkLst>
            <pc:docMk/>
            <pc:sldMk cId="1204113937" sldId="1712"/>
            <ac:spMk id="68" creationId="{B241DD3E-FC66-E516-35DC-FE01F624993C}"/>
          </ac:spMkLst>
        </pc:spChg>
      </pc:sldChg>
      <pc:sldChg chg="modSp del mod modAnim">
        <pc:chgData name="Philip Wenzel" userId="6acc32ce-9657-429b-a204-ad039ae9e71f" providerId="ADAL" clId="{74301E7D-7248-47CD-86E0-745BD03D01ED}" dt="2024-05-23T12:13:43.239" v="1885" actId="47"/>
        <pc:sldMkLst>
          <pc:docMk/>
          <pc:sldMk cId="1880535091" sldId="1713"/>
        </pc:sldMkLst>
        <pc:spChg chg="mod">
          <ac:chgData name="Philip Wenzel" userId="6acc32ce-9657-429b-a204-ad039ae9e71f" providerId="ADAL" clId="{74301E7D-7248-47CD-86E0-745BD03D01ED}" dt="2024-04-11T10:40:57.022" v="1400"/>
          <ac:spMkLst>
            <pc:docMk/>
            <pc:sldMk cId="1880535091" sldId="1713"/>
            <ac:spMk id="3" creationId="{DF4EFF8A-432F-EE7B-9094-9DB92A4FC2EF}"/>
          </ac:spMkLst>
        </pc:spChg>
      </pc:sldChg>
      <pc:sldChg chg="addSp delSp modSp mod modAnim">
        <pc:chgData name="Philip Wenzel" userId="6acc32ce-9657-429b-a204-ad039ae9e71f" providerId="ADAL" clId="{74301E7D-7248-47CD-86E0-745BD03D01ED}" dt="2024-05-23T12:20:36.440" v="1991"/>
        <pc:sldMkLst>
          <pc:docMk/>
          <pc:sldMk cId="3111372634" sldId="1714"/>
        </pc:sldMkLst>
        <pc:spChg chg="mod">
          <ac:chgData name="Philip Wenzel" userId="6acc32ce-9657-429b-a204-ad039ae9e71f" providerId="ADAL" clId="{74301E7D-7248-47CD-86E0-745BD03D01ED}" dt="2024-04-11T10:41:28.055" v="1404"/>
          <ac:spMkLst>
            <pc:docMk/>
            <pc:sldMk cId="3111372634" sldId="1714"/>
            <ac:spMk id="3" creationId="{DF4EFF8A-432F-EE7B-9094-9DB92A4FC2EF}"/>
          </ac:spMkLst>
        </pc:spChg>
        <pc:picChg chg="add del mod">
          <ac:chgData name="Philip Wenzel" userId="6acc32ce-9657-429b-a204-ad039ae9e71f" providerId="ADAL" clId="{74301E7D-7248-47CD-86E0-745BD03D01ED}" dt="2024-05-23T12:18:36.686" v="1969" actId="478"/>
          <ac:picMkLst>
            <pc:docMk/>
            <pc:sldMk cId="3111372634" sldId="1714"/>
            <ac:picMk id="7" creationId="{F994B421-CEB4-E4DB-27DA-89197570D6D6}"/>
          </ac:picMkLst>
        </pc:picChg>
        <pc:picChg chg="add mod">
          <ac:chgData name="Philip Wenzel" userId="6acc32ce-9657-429b-a204-ad039ae9e71f" providerId="ADAL" clId="{74301E7D-7248-47CD-86E0-745BD03D01ED}" dt="2024-05-23T12:20:09.400" v="1985" actId="1076"/>
          <ac:picMkLst>
            <pc:docMk/>
            <pc:sldMk cId="3111372634" sldId="1714"/>
            <ac:picMk id="9" creationId="{AD4169D5-007F-BB60-AD4E-7E2B5C4E8591}"/>
          </ac:picMkLst>
        </pc:picChg>
        <pc:picChg chg="add mod">
          <ac:chgData name="Philip Wenzel" userId="6acc32ce-9657-429b-a204-ad039ae9e71f" providerId="ADAL" clId="{74301E7D-7248-47CD-86E0-745BD03D01ED}" dt="2024-05-23T12:19:25.254" v="1982" actId="1076"/>
          <ac:picMkLst>
            <pc:docMk/>
            <pc:sldMk cId="3111372634" sldId="1714"/>
            <ac:picMk id="11" creationId="{DA5D3699-2FB5-3D6E-BB94-4B02D282EA39}"/>
          </ac:picMkLst>
        </pc:picChg>
        <pc:picChg chg="add mod">
          <ac:chgData name="Philip Wenzel" userId="6acc32ce-9657-429b-a204-ad039ae9e71f" providerId="ADAL" clId="{74301E7D-7248-47CD-86E0-745BD03D01ED}" dt="2024-05-23T12:20:00.854" v="1984" actId="1076"/>
          <ac:picMkLst>
            <pc:docMk/>
            <pc:sldMk cId="3111372634" sldId="1714"/>
            <ac:picMk id="13" creationId="{579CCEEB-73ED-FB93-3A7E-E442A3E60FAA}"/>
          </ac:picMkLst>
        </pc:picChg>
      </pc:sldChg>
      <pc:sldChg chg="addSp modSp mod modAnim">
        <pc:chgData name="Philip Wenzel" userId="6acc32ce-9657-429b-a204-ad039ae9e71f" providerId="ADAL" clId="{74301E7D-7248-47CD-86E0-745BD03D01ED}" dt="2024-05-03T09:52:18.209" v="1434" actId="20577"/>
        <pc:sldMkLst>
          <pc:docMk/>
          <pc:sldMk cId="631636867" sldId="1715"/>
        </pc:sldMkLst>
        <pc:spChg chg="mod">
          <ac:chgData name="Philip Wenzel" userId="6acc32ce-9657-429b-a204-ad039ae9e71f" providerId="ADAL" clId="{74301E7D-7248-47CD-86E0-745BD03D01ED}" dt="2024-05-03T09:52:18.209" v="1434" actId="20577"/>
          <ac:spMkLst>
            <pc:docMk/>
            <pc:sldMk cId="631636867" sldId="1715"/>
            <ac:spMk id="2" creationId="{4249AB66-CBBB-43EF-9ADD-D056233717BF}"/>
          </ac:spMkLst>
        </pc:spChg>
        <pc:spChg chg="mod">
          <ac:chgData name="Philip Wenzel" userId="6acc32ce-9657-429b-a204-ad039ae9e71f" providerId="ADAL" clId="{74301E7D-7248-47CD-86E0-745BD03D01ED}" dt="2024-04-11T08:09:04.947" v="249" actId="20577"/>
          <ac:spMkLst>
            <pc:docMk/>
            <pc:sldMk cId="631636867" sldId="1715"/>
            <ac:spMk id="3" creationId="{DF4EFF8A-432F-EE7B-9094-9DB92A4FC2EF}"/>
          </ac:spMkLst>
        </pc:spChg>
        <pc:picChg chg="add mod">
          <ac:chgData name="Philip Wenzel" userId="6acc32ce-9657-429b-a204-ad039ae9e71f" providerId="ADAL" clId="{74301E7D-7248-47CD-86E0-745BD03D01ED}" dt="2024-04-11T08:09:25.546" v="253" actId="1076"/>
          <ac:picMkLst>
            <pc:docMk/>
            <pc:sldMk cId="631636867" sldId="1715"/>
            <ac:picMk id="7" creationId="{F75C5794-F351-7F09-6B2A-AA5F4E8DBDA6}"/>
          </ac:picMkLst>
        </pc:picChg>
      </pc:sldChg>
      <pc:sldChg chg="addSp modSp add mod modAnim">
        <pc:chgData name="Philip Wenzel" userId="6acc32ce-9657-429b-a204-ad039ae9e71f" providerId="ADAL" clId="{74301E7D-7248-47CD-86E0-745BD03D01ED}" dt="2024-05-03T09:52:11.875" v="1432" actId="20577"/>
        <pc:sldMkLst>
          <pc:docMk/>
          <pc:sldMk cId="1283101686" sldId="1716"/>
        </pc:sldMkLst>
        <pc:spChg chg="mod">
          <ac:chgData name="Philip Wenzel" userId="6acc32ce-9657-429b-a204-ad039ae9e71f" providerId="ADAL" clId="{74301E7D-7248-47CD-86E0-745BD03D01ED}" dt="2024-05-03T09:52:11.875" v="1432" actId="20577"/>
          <ac:spMkLst>
            <pc:docMk/>
            <pc:sldMk cId="1283101686" sldId="1716"/>
            <ac:spMk id="2" creationId="{4249AB66-CBBB-43EF-9ADD-D056233717BF}"/>
          </ac:spMkLst>
        </pc:spChg>
        <pc:spChg chg="mod">
          <ac:chgData name="Philip Wenzel" userId="6acc32ce-9657-429b-a204-ad039ae9e71f" providerId="ADAL" clId="{74301E7D-7248-47CD-86E0-745BD03D01ED}" dt="2024-04-11T08:10:37.071" v="268" actId="20577"/>
          <ac:spMkLst>
            <pc:docMk/>
            <pc:sldMk cId="1283101686" sldId="1716"/>
            <ac:spMk id="3" creationId="{DF4EFF8A-432F-EE7B-9094-9DB92A4FC2EF}"/>
          </ac:spMkLst>
        </pc:spChg>
        <pc:spChg chg="add mod">
          <ac:chgData name="Philip Wenzel" userId="6acc32ce-9657-429b-a204-ad039ae9e71f" providerId="ADAL" clId="{74301E7D-7248-47CD-86E0-745BD03D01ED}" dt="2024-04-11T07:53:24.755" v="206" actId="1076"/>
          <ac:spMkLst>
            <pc:docMk/>
            <pc:sldMk cId="1283101686" sldId="1716"/>
            <ac:spMk id="12" creationId="{FBBE8AEA-A05F-DEC6-1734-EA240E722304}"/>
          </ac:spMkLst>
        </pc:spChg>
        <pc:picChg chg="add mod">
          <ac:chgData name="Philip Wenzel" userId="6acc32ce-9657-429b-a204-ad039ae9e71f" providerId="ADAL" clId="{74301E7D-7248-47CD-86E0-745BD03D01ED}" dt="2024-04-11T07:51:52.519" v="154" actId="1076"/>
          <ac:picMkLst>
            <pc:docMk/>
            <pc:sldMk cId="1283101686" sldId="1716"/>
            <ac:picMk id="7" creationId="{445CA07E-EDE3-8A57-175A-C4B2B25BE7E1}"/>
          </ac:picMkLst>
        </pc:picChg>
        <pc:picChg chg="add mod">
          <ac:chgData name="Philip Wenzel" userId="6acc32ce-9657-429b-a204-ad039ae9e71f" providerId="ADAL" clId="{74301E7D-7248-47CD-86E0-745BD03D01ED}" dt="2024-04-11T07:50:41.161" v="144" actId="1076"/>
          <ac:picMkLst>
            <pc:docMk/>
            <pc:sldMk cId="1283101686" sldId="1716"/>
            <ac:picMk id="9" creationId="{87082FE5-F498-2B0D-1235-472761139009}"/>
          </ac:picMkLst>
        </pc:picChg>
        <pc:picChg chg="add mod">
          <ac:chgData name="Philip Wenzel" userId="6acc32ce-9657-429b-a204-ad039ae9e71f" providerId="ADAL" clId="{74301E7D-7248-47CD-86E0-745BD03D01ED}" dt="2024-04-11T07:51:13.966" v="151" actId="1035"/>
          <ac:picMkLst>
            <pc:docMk/>
            <pc:sldMk cId="1283101686" sldId="1716"/>
            <ac:picMk id="11" creationId="{6562BEB5-EA25-6290-77AF-9E0D662DD05A}"/>
          </ac:picMkLst>
        </pc:picChg>
      </pc:sldChg>
      <pc:sldChg chg="addSp delSp modSp add mod delAnim modAnim">
        <pc:chgData name="Philip Wenzel" userId="6acc32ce-9657-429b-a204-ad039ae9e71f" providerId="ADAL" clId="{74301E7D-7248-47CD-86E0-745BD03D01ED}" dt="2024-05-03T09:54:49.024" v="1439" actId="20577"/>
        <pc:sldMkLst>
          <pc:docMk/>
          <pc:sldMk cId="314732457" sldId="1717"/>
        </pc:sldMkLst>
        <pc:spChg chg="mod">
          <ac:chgData name="Philip Wenzel" userId="6acc32ce-9657-429b-a204-ad039ae9e71f" providerId="ADAL" clId="{74301E7D-7248-47CD-86E0-745BD03D01ED}" dt="2024-05-03T09:52:05.210" v="1430" actId="20577"/>
          <ac:spMkLst>
            <pc:docMk/>
            <pc:sldMk cId="314732457" sldId="1717"/>
            <ac:spMk id="2" creationId="{4249AB66-CBBB-43EF-9ADD-D056233717BF}"/>
          </ac:spMkLst>
        </pc:spChg>
        <pc:spChg chg="mod">
          <ac:chgData name="Philip Wenzel" userId="6acc32ce-9657-429b-a204-ad039ae9e71f" providerId="ADAL" clId="{74301E7D-7248-47CD-86E0-745BD03D01ED}" dt="2024-05-03T09:54:49.024" v="1439" actId="20577"/>
          <ac:spMkLst>
            <pc:docMk/>
            <pc:sldMk cId="314732457" sldId="1717"/>
            <ac:spMk id="3" creationId="{DF4EFF8A-432F-EE7B-9094-9DB92A4FC2EF}"/>
          </ac:spMkLst>
        </pc:spChg>
        <pc:spChg chg="mod">
          <ac:chgData name="Philip Wenzel" userId="6acc32ce-9657-429b-a204-ad039ae9e71f" providerId="ADAL" clId="{74301E7D-7248-47CD-86E0-745BD03D01ED}" dt="2024-04-11T08:58:29.733" v="923" actId="1076"/>
          <ac:spMkLst>
            <pc:docMk/>
            <pc:sldMk cId="314732457" sldId="1717"/>
            <ac:spMk id="12" creationId="{FBBE8AEA-A05F-DEC6-1734-EA240E722304}"/>
          </ac:spMkLst>
        </pc:spChg>
        <pc:picChg chg="del">
          <ac:chgData name="Philip Wenzel" userId="6acc32ce-9657-429b-a204-ad039ae9e71f" providerId="ADAL" clId="{74301E7D-7248-47CD-86E0-745BD03D01ED}" dt="2024-04-11T08:54:11.489" v="908" actId="478"/>
          <ac:picMkLst>
            <pc:docMk/>
            <pc:sldMk cId="314732457" sldId="1717"/>
            <ac:picMk id="7" creationId="{445CA07E-EDE3-8A57-175A-C4B2B25BE7E1}"/>
          </ac:picMkLst>
        </pc:picChg>
        <pc:picChg chg="add mod">
          <ac:chgData name="Philip Wenzel" userId="6acc32ce-9657-429b-a204-ad039ae9e71f" providerId="ADAL" clId="{74301E7D-7248-47CD-86E0-745BD03D01ED}" dt="2024-05-03T09:54:22.452" v="1438" actId="1076"/>
          <ac:picMkLst>
            <pc:docMk/>
            <pc:sldMk cId="314732457" sldId="1717"/>
            <ac:picMk id="7" creationId="{75A8B830-D9BB-9A33-53F8-E54219488D20}"/>
          </ac:picMkLst>
        </pc:picChg>
        <pc:picChg chg="add del mod">
          <ac:chgData name="Philip Wenzel" userId="6acc32ce-9657-429b-a204-ad039ae9e71f" providerId="ADAL" clId="{74301E7D-7248-47CD-86E0-745BD03D01ED}" dt="2024-05-03T09:54:07.705" v="1435" actId="478"/>
          <ac:picMkLst>
            <pc:docMk/>
            <pc:sldMk cId="314732457" sldId="1717"/>
            <ac:picMk id="8" creationId="{C8D3889E-0DA4-7E5D-720D-5FC97747883D}"/>
          </ac:picMkLst>
        </pc:picChg>
        <pc:picChg chg="del">
          <ac:chgData name="Philip Wenzel" userId="6acc32ce-9657-429b-a204-ad039ae9e71f" providerId="ADAL" clId="{74301E7D-7248-47CD-86E0-745BD03D01ED}" dt="2024-04-11T08:53:55.127" v="904" actId="478"/>
          <ac:picMkLst>
            <pc:docMk/>
            <pc:sldMk cId="314732457" sldId="1717"/>
            <ac:picMk id="9" creationId="{87082FE5-F498-2B0D-1235-472761139009}"/>
          </ac:picMkLst>
        </pc:picChg>
        <pc:picChg chg="del">
          <ac:chgData name="Philip Wenzel" userId="6acc32ce-9657-429b-a204-ad039ae9e71f" providerId="ADAL" clId="{74301E7D-7248-47CD-86E0-745BD03D01ED}" dt="2024-04-11T08:53:53.319" v="903" actId="478"/>
          <ac:picMkLst>
            <pc:docMk/>
            <pc:sldMk cId="314732457" sldId="1717"/>
            <ac:picMk id="11" creationId="{6562BEB5-EA25-6290-77AF-9E0D662DD05A}"/>
          </ac:picMkLst>
        </pc:picChg>
        <pc:picChg chg="add mod">
          <ac:chgData name="Philip Wenzel" userId="6acc32ce-9657-429b-a204-ad039ae9e71f" providerId="ADAL" clId="{74301E7D-7248-47CD-86E0-745BD03D01ED}" dt="2024-04-11T08:57:28.469" v="918" actId="1076"/>
          <ac:picMkLst>
            <pc:docMk/>
            <pc:sldMk cId="314732457" sldId="1717"/>
            <ac:picMk id="13" creationId="{6D2E1BE6-0F95-FEDF-3769-717908453DCB}"/>
          </ac:picMkLst>
        </pc:picChg>
      </pc:sldChg>
      <pc:sldChg chg="add del ord">
        <pc:chgData name="Philip Wenzel" userId="6acc32ce-9657-429b-a204-ad039ae9e71f" providerId="ADAL" clId="{74301E7D-7248-47CD-86E0-745BD03D01ED}" dt="2024-04-11T08:12:19.065" v="273" actId="47"/>
        <pc:sldMkLst>
          <pc:docMk/>
          <pc:sldMk cId="2085284795" sldId="1717"/>
        </pc:sldMkLst>
      </pc:sldChg>
      <pc:sldChg chg="addSp delSp modSp add mod modAnim modShow">
        <pc:chgData name="Philip Wenzel" userId="6acc32ce-9657-429b-a204-ad039ae9e71f" providerId="ADAL" clId="{74301E7D-7248-47CD-86E0-745BD03D01ED}" dt="2024-05-23T12:15:36.998" v="1965" actId="5793"/>
        <pc:sldMkLst>
          <pc:docMk/>
          <pc:sldMk cId="4108187951" sldId="1718"/>
        </pc:sldMkLst>
        <pc:spChg chg="mod">
          <ac:chgData name="Philip Wenzel" userId="6acc32ce-9657-429b-a204-ad039ae9e71f" providerId="ADAL" clId="{74301E7D-7248-47CD-86E0-745BD03D01ED}" dt="2024-05-23T12:08:19.172" v="1630" actId="20577"/>
          <ac:spMkLst>
            <pc:docMk/>
            <pc:sldMk cId="4108187951" sldId="1718"/>
            <ac:spMk id="2" creationId="{6F9FD351-BBAC-422B-B48E-332B3B70A0BE}"/>
          </ac:spMkLst>
        </pc:spChg>
        <pc:spChg chg="mod">
          <ac:chgData name="Philip Wenzel" userId="6acc32ce-9657-429b-a204-ad039ae9e71f" providerId="ADAL" clId="{74301E7D-7248-47CD-86E0-745BD03D01ED}" dt="2024-05-23T12:15:36.998" v="1965" actId="5793"/>
          <ac:spMkLst>
            <pc:docMk/>
            <pc:sldMk cId="4108187951" sldId="1718"/>
            <ac:spMk id="4" creationId="{C02DA9DC-3A7E-4ECB-B744-27C124553440}"/>
          </ac:spMkLst>
        </pc:spChg>
        <pc:spChg chg="add mod">
          <ac:chgData name="Philip Wenzel" userId="6acc32ce-9657-429b-a204-ad039ae9e71f" providerId="ADAL" clId="{74301E7D-7248-47CD-86E0-745BD03D01ED}" dt="2024-05-23T12:10:56.837" v="1688" actId="20577"/>
          <ac:spMkLst>
            <pc:docMk/>
            <pc:sldMk cId="4108187951" sldId="1718"/>
            <ac:spMk id="9" creationId="{04D4DC7D-8931-CB6D-E8EA-8B74558F3DE6}"/>
          </ac:spMkLst>
        </pc:spChg>
        <pc:spChg chg="add mod">
          <ac:chgData name="Philip Wenzel" userId="6acc32ce-9657-429b-a204-ad039ae9e71f" providerId="ADAL" clId="{74301E7D-7248-47CD-86E0-745BD03D01ED}" dt="2024-05-23T12:10:18.601" v="1686"/>
          <ac:spMkLst>
            <pc:docMk/>
            <pc:sldMk cId="4108187951" sldId="1718"/>
            <ac:spMk id="10" creationId="{24973FD5-6549-62F9-BD96-7460475FD6A1}"/>
          </ac:spMkLst>
        </pc:spChg>
        <pc:spChg chg="mod">
          <ac:chgData name="Philip Wenzel" userId="6acc32ce-9657-429b-a204-ad039ae9e71f" providerId="ADAL" clId="{74301E7D-7248-47CD-86E0-745BD03D01ED}" dt="2024-05-23T12:09:40.165" v="1678" actId="20577"/>
          <ac:spMkLst>
            <pc:docMk/>
            <pc:sldMk cId="4108187951" sldId="1718"/>
            <ac:spMk id="12" creationId="{D147B3DC-337A-41FD-9397-3A25A29E305A}"/>
          </ac:spMkLst>
        </pc:spChg>
        <pc:spChg chg="mod">
          <ac:chgData name="Philip Wenzel" userId="6acc32ce-9657-429b-a204-ad039ae9e71f" providerId="ADAL" clId="{74301E7D-7248-47CD-86E0-745BD03D01ED}" dt="2024-05-23T12:04:51.767" v="1530" actId="20577"/>
          <ac:spMkLst>
            <pc:docMk/>
            <pc:sldMk cId="4108187951" sldId="1718"/>
            <ac:spMk id="14" creationId="{F6A50592-6829-48D0-8FEC-DC847F623CDE}"/>
          </ac:spMkLst>
        </pc:spChg>
        <pc:spChg chg="mod">
          <ac:chgData name="Philip Wenzel" userId="6acc32ce-9657-429b-a204-ad039ae9e71f" providerId="ADAL" clId="{74301E7D-7248-47CD-86E0-745BD03D01ED}" dt="2024-05-23T12:12:03.205" v="1699" actId="20577"/>
          <ac:spMkLst>
            <pc:docMk/>
            <pc:sldMk cId="4108187951" sldId="1718"/>
            <ac:spMk id="17" creationId="{819BE562-9EA6-4608-9F84-E77B929FD100}"/>
          </ac:spMkLst>
        </pc:spChg>
        <pc:spChg chg="mod">
          <ac:chgData name="Philip Wenzel" userId="6acc32ce-9657-429b-a204-ad039ae9e71f" providerId="ADAL" clId="{74301E7D-7248-47CD-86E0-745BD03D01ED}" dt="2024-05-23T12:09:32.035" v="1655" actId="20577"/>
          <ac:spMkLst>
            <pc:docMk/>
            <pc:sldMk cId="4108187951" sldId="1718"/>
            <ac:spMk id="18" creationId="{ECB8DDC8-BABA-415E-AFFB-69E39837BB0B}"/>
          </ac:spMkLst>
        </pc:spChg>
        <pc:spChg chg="mod">
          <ac:chgData name="Philip Wenzel" userId="6acc32ce-9657-429b-a204-ad039ae9e71f" providerId="ADAL" clId="{74301E7D-7248-47CD-86E0-745BD03D01ED}" dt="2024-05-23T12:10:37.053" v="1687" actId="1076"/>
          <ac:spMkLst>
            <pc:docMk/>
            <pc:sldMk cId="4108187951" sldId="1718"/>
            <ac:spMk id="19" creationId="{D7B4A3AD-62A4-479B-8264-8F6DA9F0F87A}"/>
          </ac:spMkLst>
        </pc:spChg>
        <pc:spChg chg="del mod">
          <ac:chgData name="Philip Wenzel" userId="6acc32ce-9657-429b-a204-ad039ae9e71f" providerId="ADAL" clId="{74301E7D-7248-47CD-86E0-745BD03D01ED}" dt="2024-05-23T12:07:35.045" v="1583" actId="478"/>
          <ac:spMkLst>
            <pc:docMk/>
            <pc:sldMk cId="4108187951" sldId="1718"/>
            <ac:spMk id="21" creationId="{5CD1C4B1-F4D4-487E-A474-B4F997E488DF}"/>
          </ac:spMkLst>
        </pc:spChg>
        <pc:cxnChg chg="add mod">
          <ac:chgData name="Philip Wenzel" userId="6acc32ce-9657-429b-a204-ad039ae9e71f" providerId="ADAL" clId="{74301E7D-7248-47CD-86E0-745BD03D01ED}" dt="2024-05-23T12:08:07.141" v="1601" actId="1076"/>
          <ac:cxnSpMkLst>
            <pc:docMk/>
            <pc:sldMk cId="4108187951" sldId="1718"/>
            <ac:cxnSpMk id="3" creationId="{C0BCE494-22D5-3A6C-B15E-F5C3B88E04D2}"/>
          </ac:cxnSpMkLst>
        </pc:cxnChg>
        <pc:cxnChg chg="mod">
          <ac:chgData name="Philip Wenzel" userId="6acc32ce-9657-429b-a204-ad039ae9e71f" providerId="ADAL" clId="{74301E7D-7248-47CD-86E0-745BD03D01ED}" dt="2024-05-23T12:08:07.141" v="1601" actId="1076"/>
          <ac:cxnSpMkLst>
            <pc:docMk/>
            <pc:sldMk cId="4108187951" sldId="1718"/>
            <ac:cxnSpMk id="11" creationId="{C547A076-0381-4F13-8A9B-D518600D11E8}"/>
          </ac:cxnSpMkLst>
        </pc:cxnChg>
        <pc:cxnChg chg="mod">
          <ac:chgData name="Philip Wenzel" userId="6acc32ce-9657-429b-a204-ad039ae9e71f" providerId="ADAL" clId="{74301E7D-7248-47CD-86E0-745BD03D01ED}" dt="2024-05-23T12:10:37.053" v="1687" actId="1076"/>
          <ac:cxnSpMkLst>
            <pc:docMk/>
            <pc:sldMk cId="4108187951" sldId="1718"/>
            <ac:cxnSpMk id="16" creationId="{8B715503-EF4E-426A-925F-4DBDFDB45786}"/>
          </ac:cxnSpMkLst>
        </pc:cxnChg>
        <pc:cxnChg chg="del mod">
          <ac:chgData name="Philip Wenzel" userId="6acc32ce-9657-429b-a204-ad039ae9e71f" providerId="ADAL" clId="{74301E7D-7248-47CD-86E0-745BD03D01ED}" dt="2024-05-23T12:07:36.363" v="1584" actId="478"/>
          <ac:cxnSpMkLst>
            <pc:docMk/>
            <pc:sldMk cId="4108187951" sldId="1718"/>
            <ac:cxnSpMk id="20" creationId="{9B53B983-DBE8-4A3B-BA60-C358988EC3E3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F9143AC-F275-4B8A-82F4-2F3CE0B8D3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E05DB6-3A22-4ED8-A2DF-FC87903C2A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DFDD7-199D-4069-9EDC-AAFF40370A35}" type="datetimeFigureOut">
              <a:rPr lang="en-US" smtClean="0">
                <a:solidFill>
                  <a:schemeClr val="tx2"/>
                </a:solidFill>
              </a:rPr>
              <a:t>8/13/2024</a:t>
            </a:fld>
            <a:endParaRPr lang="en-US">
              <a:solidFill>
                <a:schemeClr val="tx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5D274F-5773-4841-A866-E61D5BD5A8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8C93F0-B384-45A7-AFC2-7820B56144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883EB1-95C9-453E-A2EB-84A31EA1A953}" type="slidenum">
              <a:rPr lang="en-US" smtClean="0">
                <a:solidFill>
                  <a:schemeClr val="tx2"/>
                </a:solidFill>
              </a:rPr>
              <a:t>‹Nr.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2823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B54ACF56-8AC0-413B-87D0-F58636EC0C94}" type="datetimeFigureOut">
              <a:rPr lang="de-DE" smtClean="0"/>
              <a:pPr/>
              <a:t>13.08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2821" y="800851"/>
            <a:ext cx="6232358" cy="3505702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2821" y="4648616"/>
            <a:ext cx="6232358" cy="385771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7B6A1A71-1697-4AC4-91EE-DA2F6CEB7F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175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66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DEF94761-1C3A-4242-B358-C791D08D47DE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6917C283-807D-408C-89DE-7E9157D6D85F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536B2866-E229-4EE3-9A83-7DA90A71AE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3063180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D02009-4389-4113-A170-B981C2934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42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D02009-4389-4113-A170-B981C2934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1628775"/>
            <a:ext cx="5472113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2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4005263"/>
            <a:ext cx="5472113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EDCBE7C-020C-4387-AB39-CC36D49FF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3" y="4005263"/>
            <a:ext cx="5472112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B2E5FE3-E275-4F4C-ADAE-8FC6E7CCF3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52646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  <p15:guide id="3" orient="horz" pos="2341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219E32-A4A9-4B90-AB38-6F3A9D18D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34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219E32-A4A9-4B90-AB38-6F3A9D18D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463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17A6F04-8A7D-4C5B-8D8E-5CABE03CD9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967172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6613608-BF8A-428D-AB6E-2601935B97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926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6613608-BF8A-428D-AB6E-2601935B9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40232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930178F5-9D96-41A2-A823-8F5177131B7B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A099650-CDA9-49E5-AF8A-B436FE2753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5472109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004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6865E4C-C203-442C-A09D-E38161EC2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32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6865E4C-C203-442C-A09D-E38161EC2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425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4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2B43CB5-80C1-4207-BE73-CF0AFCAEF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80904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AEA9E99-8C39-4BCD-BF1E-F1FC24387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961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AEA9E99-8C39-4BCD-BF1E-F1FC24387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</a:t>
            </a:r>
            <a:br>
              <a:rPr lang="de-DE" noProof="0" dirty="0"/>
            </a:br>
            <a:r>
              <a:rPr lang="de-DE" noProof="0" dirty="0"/>
              <a:t>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0463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3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463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275ED778-F2F8-4622-906C-9805DB881A0C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0515820E-F857-4B19-93B7-9FDE3F64BB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0461" y="156260"/>
            <a:ext cx="5472114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2441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11791122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147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620FCE-058D-49CE-B32D-3D4106022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89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B620FCE-058D-49CE-B32D-3D4106022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1628775"/>
            <a:ext cx="11791122" cy="5017521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C0C3B27-2859-4DC8-A140-5C945AC6E7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124823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331A3B-A55C-45EB-BAEE-67A12C40B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324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331A3B-A55C-45EB-BAEE-67A12C40B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9C7CB0C7-F5D2-4463-A173-5F754804B155}"/>
              </a:ext>
            </a:extLst>
          </p:cNvPr>
          <p:cNvSpPr/>
          <p:nvPr userDrawn="1"/>
        </p:nvSpPr>
        <p:spPr>
          <a:xfrm>
            <a:off x="200437" y="1070044"/>
            <a:ext cx="4809308" cy="3886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2F4818C-D163-4B84-8DEF-E288276C2D7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0 w 11791121"/>
              <a:gd name="connsiteY0" fmla="*/ 0 h 6434593"/>
              <a:gd name="connsiteX1" fmla="*/ 11791121 w 11791121"/>
              <a:gd name="connsiteY1" fmla="*/ 0 h 6434593"/>
              <a:gd name="connsiteX2" fmla="*/ 11791121 w 11791121"/>
              <a:gd name="connsiteY2" fmla="*/ 6434593 h 6434593"/>
              <a:gd name="connsiteX3" fmla="*/ 0 w 11791121"/>
              <a:gd name="connsiteY3" fmla="*/ 6434593 h 6434593"/>
              <a:gd name="connsiteX4" fmla="*/ 0 w 11791121"/>
              <a:gd name="connsiteY4" fmla="*/ 4645188 h 6434593"/>
              <a:gd name="connsiteX5" fmla="*/ 11599 w 11791121"/>
              <a:gd name="connsiteY5" fmla="*/ 4644764 h 6434593"/>
              <a:gd name="connsiteX6" fmla="*/ 3284778 w 11791121"/>
              <a:gd name="connsiteY6" fmla="*/ 4525507 h 6434593"/>
              <a:gd name="connsiteX7" fmla="*/ 3901828 w 11791121"/>
              <a:gd name="connsiteY7" fmla="*/ 4044782 h 6434593"/>
              <a:gd name="connsiteX8" fmla="*/ 4612155 w 11791121"/>
              <a:gd name="connsiteY8" fmla="*/ 1330578 h 6434593"/>
              <a:gd name="connsiteX9" fmla="*/ 4377006 w 11791121"/>
              <a:gd name="connsiteY9" fmla="*/ 958305 h 6434593"/>
              <a:gd name="connsiteX10" fmla="*/ 4288256 w 11791121"/>
              <a:gd name="connsiteY10" fmla="*/ 964653 h 6434593"/>
              <a:gd name="connsiteX11" fmla="*/ 336873 w 11791121"/>
              <a:gd name="connsiteY11" fmla="*/ 1622704 h 6434593"/>
              <a:gd name="connsiteX12" fmla="*/ 20448 w 11791121"/>
              <a:gd name="connsiteY12" fmla="*/ 1756646 h 6434593"/>
              <a:gd name="connsiteX13" fmla="*/ 0 w 11791121"/>
              <a:gd name="connsiteY13" fmla="*/ 177139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1121" h="6434593"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0" y="6434593"/>
                </a:lnTo>
                <a:lnTo>
                  <a:pt x="0" y="4645188"/>
                </a:lnTo>
                <a:lnTo>
                  <a:pt x="11599" y="4644764"/>
                </a:lnTo>
                <a:cubicBezTo>
                  <a:pt x="1244017" y="4599639"/>
                  <a:pt x="3284778" y="4525507"/>
                  <a:pt x="3284778" y="4525507"/>
                </a:cubicBezTo>
                <a:cubicBezTo>
                  <a:pt x="3656854" y="4509107"/>
                  <a:pt x="3838279" y="4288731"/>
                  <a:pt x="3901828" y="4044782"/>
                </a:cubicBezTo>
                <a:cubicBezTo>
                  <a:pt x="3901828" y="4044782"/>
                  <a:pt x="4547580" y="1579653"/>
                  <a:pt x="4612155" y="1330578"/>
                </a:cubicBezTo>
                <a:cubicBezTo>
                  <a:pt x="4670452" y="1104565"/>
                  <a:pt x="4571010" y="963307"/>
                  <a:pt x="4377006" y="958305"/>
                </a:cubicBezTo>
                <a:cubicBezTo>
                  <a:pt x="4349291" y="957589"/>
                  <a:pt x="4319646" y="959656"/>
                  <a:pt x="4288256" y="964653"/>
                </a:cubicBezTo>
                <a:cubicBezTo>
                  <a:pt x="4033028" y="1003603"/>
                  <a:pt x="602348" y="1550954"/>
                  <a:pt x="336873" y="1622704"/>
                </a:cubicBezTo>
                <a:cubicBezTo>
                  <a:pt x="216948" y="1654992"/>
                  <a:pt x="112590" y="1698233"/>
                  <a:pt x="20448" y="1756646"/>
                </a:cubicBezTo>
                <a:lnTo>
                  <a:pt x="0" y="177139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DFD521-41B3-45E2-8B3A-5BB64D5E81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4" y="2248786"/>
            <a:ext cx="3528527" cy="1976400"/>
          </a:xfrm>
        </p:spPr>
        <p:txBody>
          <a:bodyPr anchor="ctr"/>
          <a:lstStyle>
            <a:lvl1pPr rtl="0">
              <a:lnSpc>
                <a:spcPct val="90000"/>
              </a:lnSpc>
              <a:defRPr sz="3600" b="0">
                <a:solidFill>
                  <a:schemeClr val="accent1"/>
                </a:solidFill>
              </a:defRPr>
            </a:lvl1pPr>
            <a:lvl2pPr rtl="0">
              <a:lnSpc>
                <a:spcPct val="90000"/>
              </a:lnSpc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0" dirty="0"/>
              <a:t>Kapitel 01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  <a:p>
            <a:pPr lvl="1"/>
            <a:r>
              <a:rPr lang="de-DE" noProof="0" dirty="0"/>
              <a:t>PT Sans, 16pt, max. 3 Zeilen</a:t>
            </a:r>
            <a:br>
              <a:rPr lang="de-DE" noProof="0" dirty="0"/>
            </a:b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 </a:t>
            </a:r>
            <a:r>
              <a:rPr lang="de-DE" noProof="0" dirty="0" err="1"/>
              <a:t>consectetuer</a:t>
            </a:r>
            <a:r>
              <a:rPr lang="de-DE" noProof="0" dirty="0"/>
              <a:t> </a:t>
            </a:r>
            <a:r>
              <a:rPr lang="de-DE" noProof="0" dirty="0" err="1"/>
              <a:t>adipiscing</a:t>
            </a:r>
            <a:r>
              <a:rPr lang="de-DE" noProof="0" dirty="0"/>
              <a:t> </a:t>
            </a:r>
            <a:r>
              <a:rPr lang="de-DE" noProof="0" dirty="0" err="1"/>
              <a:t>elit</a:t>
            </a:r>
            <a:r>
              <a:rPr lang="de-DE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4032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775A9F-ED78-4A86-8A2D-1403D2847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35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775A9F-ED78-4A86-8A2D-1403D2847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657741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D5D8701-14A1-4FDC-8292-45F87C5FCA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4572304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5354161"/>
            <a:ext cx="11233149" cy="73866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64523F55-AB86-48AA-9220-67566EF4D1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074085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3723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w/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A298B5A-E311-4ADE-8FD7-6130EFC66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0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A298B5A-E311-4ADE-8FD7-6130EFC6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074085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4727643"/>
            <a:ext cx="11233149" cy="136518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32522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73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C606F1D-77B6-4ACE-B679-DF41E6C37F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D7E1AF7-1BA0-4574-BB3F-D43E3176C63B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867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92421B-EF6A-44D9-A85C-C5E6F2918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92421B-EF6A-44D9-A85C-C5E6F2918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3033713"/>
            <a:ext cx="11791122" cy="361188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603CA65-3897-4F2C-B57C-CE1CC9AC6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1628775"/>
            <a:ext cx="11233150" cy="11160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24C9ED1-541A-43F7-B3C7-0D315A80B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9465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3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77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22BA67-763D-43EA-AA83-2A30A79049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4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3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5" y="5521076"/>
            <a:ext cx="4837813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 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47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29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58F47DBE-6B1E-4273-AFF2-5A76F3D999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7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6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521076"/>
            <a:ext cx="4837816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016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62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F9C7F57-C5DA-438B-98AD-BDE6CF7FE9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1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88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729B54F-BB09-4D20-A088-ACFFACA8D9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342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94971B2-B5F1-49A8-8123-95C5AB3DE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02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94971B2-B5F1-49A8-8123-95C5AB3DE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EA96E3C1-04A4-4296-B542-BED3C359A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PT Sans, 32 pt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D784400-AA91-4681-98B9-E68A8CB83D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0018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>
            <a:extLst>
              <a:ext uri="{FF2B5EF4-FFF2-40B4-BE49-F238E27FC236}">
                <a16:creationId xmlns:a16="http://schemas.microsoft.com/office/drawing/2014/main" id="{2718C1B8-1E1E-4C0C-BD59-A98CD2453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65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7" name="Objekt 36" hidden="1">
                        <a:extLst>
                          <a:ext uri="{FF2B5EF4-FFF2-40B4-BE49-F238E27FC236}">
                            <a16:creationId xmlns:a16="http://schemas.microsoft.com/office/drawing/2014/main" id="{2718C1B8-1E1E-4C0C-BD59-A98CD2453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9C5103-F38E-4413-AAC1-87B904723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28773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59DEF56-14CF-449A-94AD-85B75CA3C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8867" y="1628773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2A141B-2233-4A9B-99C4-AD50E3FD1E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53133" y="1628773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8780CD-F0BF-4D27-A6C0-87778FF439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6575" y="1628773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10B8462-7132-48D5-8BB8-C89F20A115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789787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5B1449D-B7ED-411F-9785-D2F1660F4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18867" y="2789787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2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4C3BC5-184E-4930-8808-679E2194B2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953133" y="2789787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982800 h 1074240"/>
              <a:gd name="connsiteX1" fmla="*/ 0 w 1005840"/>
              <a:gd name="connsiteY1" fmla="*/ 982800 h 1074240"/>
              <a:gd name="connsiteX2" fmla="*/ 0 w 1005840"/>
              <a:gd name="connsiteY2" fmla="*/ 0 h 1074240"/>
              <a:gd name="connsiteX3" fmla="*/ 914400 w 1005840"/>
              <a:gd name="connsiteY3" fmla="*/ 0 h 1074240"/>
              <a:gd name="connsiteX4" fmla="*/ 1005840 w 1005840"/>
              <a:gd name="connsiteY4" fmla="*/ 1074240 h 107424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3" fmla="*/ 914400 w 914400"/>
              <a:gd name="connsiteY3" fmla="*/ 0 h 982800"/>
              <a:gd name="connsiteX0" fmla="*/ 0 w 914400"/>
              <a:gd name="connsiteY0" fmla="*/ 982800 h 982800"/>
              <a:gd name="connsiteX1" fmla="*/ 0 w 914400"/>
              <a:gd name="connsiteY1" fmla="*/ 0 h 982800"/>
              <a:gd name="connsiteX2" fmla="*/ 91440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F22F542-75A0-4EDD-87E0-CF155EE082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16575" y="2789787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DC4479D-A6C8-45C5-8064-4EFEFBA922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3950800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5C89F06-295E-46AE-9896-B2481771B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18867" y="3950800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7EC6528-B191-4481-94DB-AF14CE7797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953133" y="3950800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436A7174-431F-4FC7-81B2-908D53A79F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16575" y="3950800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CEB4442-93E3-4113-82F0-379B3D573B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5111812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0FD0B222-6C2F-41CA-A1EF-4F2D0C1CEF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18867" y="5111812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4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8DD0AAD8-FE46-4BA8-9150-37243A05671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953133" y="5111812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914400"/>
              <a:gd name="connsiteY0" fmla="*/ 0 h 982800"/>
              <a:gd name="connsiteX1" fmla="*/ 914400 w 914400"/>
              <a:gd name="connsiteY1" fmla="*/ 982800 h 982800"/>
              <a:gd name="connsiteX2" fmla="*/ 0 w 914400"/>
              <a:gd name="connsiteY2" fmla="*/ 982800 h 982800"/>
              <a:gd name="connsiteX3" fmla="*/ 0 w 914400"/>
              <a:gd name="connsiteY3" fmla="*/ 0 h 98280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DE14BFEB-E5B8-478E-A748-A400465F36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6575" y="5111812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C5AC341-043C-4F54-B808-AF64264746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585951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E989DB-631D-48A2-B7FD-2053B3992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77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E989DB-631D-48A2-B7FD-2053B3992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11233152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97FE522-04A1-4E37-A95E-F22176DC98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8329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ECF26CE-A90D-4DC6-A6FE-CF4FEFC139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339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ECF26CE-A90D-4DC6-A6FE-CF4FEFC13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3FB1DB9-509A-49AA-9464-128B7899BF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315763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00F4F25-C7EB-4459-B9D7-0BE7CF6FB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146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00F4F25-C7EB-4459-B9D7-0BE7CF6FB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9400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59375" y="1628775"/>
            <a:ext cx="3553199" cy="446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02C7ADC-DFA4-4CC5-BA95-5E94CCEF1C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75114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4" userDrawn="1">
          <p15:clr>
            <a:srgbClr val="FBAE40"/>
          </p15:clr>
        </p15:guide>
        <p15:guide id="2" pos="2718" userDrawn="1">
          <p15:clr>
            <a:srgbClr val="FBAE40"/>
          </p15:clr>
        </p15:guide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afik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ACD0F2-17D0-4B5D-B6D0-73C57636D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9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ACD0F2-17D0-4B5D-B6D0-73C57636D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59987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73977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8590AFB-8534-49C9-BD32-979ADCE71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17898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A788FB1-B28B-48C2-8579-968B607E5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82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A788FB1-B28B-48C2-8579-968B607E5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112331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D2F4F4-79E8-4D58-B999-0AB453F3A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85100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336D8BB-6610-4C02-AECC-7FD574E81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3356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06" imgH="306" progId="TCLayout.ActiveDocument.1">
                  <p:embed/>
                </p:oleObj>
              </mc:Choice>
              <mc:Fallback>
                <p:oleObj name="think-cell Folie" r:id="rId27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336D8BB-6610-4C02-AECC-7FD574E81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8137288-D4DD-47A0-A5A2-9B21E0843F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739916"/>
            <a:ext cx="11233150" cy="4431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8DB32B-83D1-4D46-9114-9A1546EDEC8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628775"/>
            <a:ext cx="1123315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E75EBC2-3978-4F7E-B8CE-2B0C536A9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3806088-DA19-440A-84FC-46E3F2E238FC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4B55C68-02BC-4E32-9769-089A978EA39B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6528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50" r:id="rId3"/>
    <p:sldLayoutId id="2147483669" r:id="rId4"/>
    <p:sldLayoutId id="2147483654" r:id="rId5"/>
    <p:sldLayoutId id="2147483653" r:id="rId6"/>
    <p:sldLayoutId id="2147483652" r:id="rId7"/>
    <p:sldLayoutId id="2147483655" r:id="rId8"/>
    <p:sldLayoutId id="2147483656" r:id="rId9"/>
    <p:sldLayoutId id="2147483651" r:id="rId10"/>
    <p:sldLayoutId id="2147483657" r:id="rId11"/>
    <p:sldLayoutId id="2147483659" r:id="rId12"/>
    <p:sldLayoutId id="2147483658" r:id="rId13"/>
    <p:sldLayoutId id="2147483660" r:id="rId14"/>
    <p:sldLayoutId id="2147483661" r:id="rId15"/>
    <p:sldLayoutId id="2147483662" r:id="rId16"/>
    <p:sldLayoutId id="2147483663" r:id="rId17"/>
    <p:sldLayoutId id="2147483664" r:id="rId18"/>
    <p:sldLayoutId id="2147483668" r:id="rId19"/>
    <p:sldLayoutId id="2147483665" r:id="rId20"/>
    <p:sldLayoutId id="2147483673" r:id="rId21"/>
    <p:sldLayoutId id="2147483674" r:id="rId22"/>
    <p:sldLayoutId id="2147483666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12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02" userDrawn="1">
          <p15:clr>
            <a:srgbClr val="FBAE40"/>
          </p15:clr>
        </p15:guide>
        <p15:guide id="5" pos="7378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  <p15:guide id="7" orient="horz" pos="4140" userDrawn="1">
          <p15:clr>
            <a:srgbClr val="FBAE40"/>
          </p15:clr>
        </p15:guide>
        <p15:guide id="8" orient="horz" pos="754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7.xml"/><Relationship Id="rId5" Type="http://schemas.openxmlformats.org/officeDocument/2006/relationships/image" Target="../media/image4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8.xml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0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511C94C-D050-4303-BD01-EB350D9CF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8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511C94C-D050-4303-BD01-EB350D9C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C24C50A-6133-4997-BD17-338D41E40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5185" y="3805389"/>
            <a:ext cx="5094302" cy="993092"/>
          </a:xfrm>
        </p:spPr>
        <p:txBody>
          <a:bodyPr vert="horz">
            <a:normAutofit/>
          </a:bodyPr>
          <a:lstStyle/>
          <a:p>
            <a:r>
              <a:rPr lang="de-DE" dirty="0"/>
              <a:t>Bedarf von Schüler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73A397DA-5884-49B1-AE71-81733D306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5183" y="4841551"/>
            <a:ext cx="5094301" cy="615553"/>
          </a:xfrm>
        </p:spPr>
        <p:txBody>
          <a:bodyPr/>
          <a:lstStyle/>
          <a:p>
            <a:r>
              <a:rPr lang="de-DE" dirty="0"/>
              <a:t>Nimm, was du brauchst und vergiss den Rest!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E2DEADD-F6D0-477C-A197-A83F865C02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184" y="5851632"/>
            <a:ext cx="3320978" cy="369332"/>
          </a:xfrm>
        </p:spPr>
        <p:txBody>
          <a:bodyPr/>
          <a:lstStyle/>
          <a:p>
            <a:r>
              <a:rPr lang="de-DE" dirty="0"/>
              <a:t>Philip Wenzel| Vertriebsspezialist BU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BD08E32-BCC4-49DB-B535-F17C26ADD71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t="1" b="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4909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Ein Bild, das Im Haus, Person, Kleidung, Wand enthält.&#10;&#10;Automatisch generierte Beschreibung">
            <a:extLst>
              <a:ext uri="{FF2B5EF4-FFF2-40B4-BE49-F238E27FC236}">
                <a16:creationId xmlns:a16="http://schemas.microsoft.com/office/drawing/2014/main" id="{6CB6D049-FFE4-9AC0-832D-53EF871AEB0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76" b="9076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ieso brauchen Schüler und Studenten schon eine BU-Versicherung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99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Bildplatzhalter 8" descr="Ein Bild, das Kleidung, Menschliches Gesicht, Person, Lernen enthält.&#10;&#10;Automatisch generierte Beschreibung">
            <a:extLst>
              <a:ext uri="{FF2B5EF4-FFF2-40B4-BE49-F238E27FC236}">
                <a16:creationId xmlns:a16="http://schemas.microsoft.com/office/drawing/2014/main" id="{077C4844-75D2-4D13-C785-647C5EDF527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21232" r="21232"/>
          <a:stretch>
            <a:fillRect/>
          </a:stretch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rum muss der Schüler oder Student schon eine BUV haben?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5996AE-E296-E1D6-C012-C19B14282DE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5472109" cy="215444"/>
          </a:xfrm>
        </p:spPr>
        <p:txBody>
          <a:bodyPr/>
          <a:lstStyle/>
          <a:p>
            <a:r>
              <a:rPr lang="de-DE" noProof="0" dirty="0"/>
              <a:t>Was ist der Bedarf bei Schülern?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208B2CB4-08D8-90D9-3C0E-C968F06C1E73}"/>
              </a:ext>
            </a:extLst>
          </p:cNvPr>
          <p:cNvSpPr txBox="1">
            <a:spLocks/>
          </p:cNvSpPr>
          <p:nvPr/>
        </p:nvSpPr>
        <p:spPr>
          <a:xfrm>
            <a:off x="479425" y="2242570"/>
            <a:ext cx="5716102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Da gibt es einige Punk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Je früher, desto seltener sind Ausschlüsse oder Zuschlä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Schüler sind versicherbar, der Profisportler nicht und der Dachdecker nur teu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Ein Leistungsfall tritt höchstwahrscheinlich erst nach der endgültigen Verjährung e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Je früher, desto günstiger ist der Tarif monatlich. Die Ersparnis (ca. 2%-3%) in der Summe, wenn ich einfach mit dem Abschluss warte, wiegt nicht die Nachteile auf </a:t>
            </a:r>
            <a:r>
              <a:rPr lang="de-DE" sz="1600" b="0" dirty="0">
                <a:sym typeface="Wingdings" panose="05000000000000000000" pitchFamily="2" charset="2"/>
              </a:rPr>
              <a:t> Kürzere Versicherungsdauer, Vorerkrankungen, mögliche Verletzung der vorvertraglichen Anzeigepflicht, risikoreicher Beruf oder Hobby…</a:t>
            </a:r>
            <a:r>
              <a:rPr lang="de-DE" sz="1600" b="0" dirty="0"/>
              <a:t> </a:t>
            </a:r>
          </a:p>
          <a:p>
            <a:endParaRPr lang="de-DE" sz="1600" b="0" dirty="0"/>
          </a:p>
        </p:txBody>
      </p:sp>
    </p:spTree>
    <p:extLst>
      <p:ext uri="{BB962C8B-B14F-4D97-AF65-F5344CB8AC3E}">
        <p14:creationId xmlns:p14="http://schemas.microsoft.com/office/powerpoint/2010/main" val="840562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13" descr="Ein Bild, das Kleidung, Person, Im Haus, computer enthält.&#10;&#10;Automatisch generierte Beschreibung">
            <a:extLst>
              <a:ext uri="{FF2B5EF4-FFF2-40B4-BE49-F238E27FC236}">
                <a16:creationId xmlns:a16="http://schemas.microsoft.com/office/drawing/2014/main" id="{37F4FC56-6419-D91E-46C5-7E6C5E337D6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rcRect t="29545" b="29545"/>
          <a:stretch>
            <a:fillRect/>
          </a:stretch>
        </p:blipFill>
        <p:spPr>
          <a:xfrm>
            <a:off x="200025" y="3429000"/>
            <a:ext cx="11791950" cy="3216275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orauf muss ich bei einem Schüler oder Student achten?</a:t>
            </a:r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208B2CB4-08D8-90D9-3C0E-C968F06C1E73}"/>
              </a:ext>
            </a:extLst>
          </p:cNvPr>
          <p:cNvSpPr txBox="1">
            <a:spLocks/>
          </p:cNvSpPr>
          <p:nvPr/>
        </p:nvSpPr>
        <p:spPr>
          <a:xfrm>
            <a:off x="479424" y="1319144"/>
            <a:ext cx="10913253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Die Kernpunkte sind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Wenn die Eltern mehrere Kinder haben, spielt der Preis eine größere Roll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Der Tarif muss für Angestellte, Selbständige und Beamte pass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Nachversicherungen und Optionen spielen eine größere Rol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Klauseln für Schüler und Studenten spielen eine untergeordnete Rolle…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8E40479-6E3F-1D23-61B0-931E8C917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55575"/>
            <a:ext cx="11233150" cy="431800"/>
          </a:xfrm>
        </p:spPr>
        <p:txBody>
          <a:bodyPr/>
          <a:lstStyle/>
          <a:p>
            <a:r>
              <a:rPr lang="de-DE" noProof="0" dirty="0"/>
              <a:t>Was ist der Bedarf bei Schülern?</a:t>
            </a:r>
          </a:p>
        </p:txBody>
      </p:sp>
    </p:spTree>
    <p:extLst>
      <p:ext uri="{BB962C8B-B14F-4D97-AF65-F5344CB8AC3E}">
        <p14:creationId xmlns:p14="http://schemas.microsoft.com/office/powerpoint/2010/main" val="120411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as ist in den Bedingungen wichtig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6" name="Bildplatzhalter 5" descr="Ein Bild, das Menschliches Gesicht, Person, Kleidung, Lächeln enthält.&#10;&#10;Automatisch generierte Beschreibung">
            <a:extLst>
              <a:ext uri="{FF2B5EF4-FFF2-40B4-BE49-F238E27FC236}">
                <a16:creationId xmlns:a16="http://schemas.microsoft.com/office/drawing/2014/main" id="{9D98D158-766C-8CDC-6569-FD1AFD8701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67" b="90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6976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Sind Schüler und Studenten was Besonderes?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335883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0" dirty="0"/>
              <a:t>An sich nicht… Und man ist ja nicht ewig Schüler oder Student…</a:t>
            </a:r>
          </a:p>
          <a:p>
            <a:r>
              <a:rPr lang="de-DE" sz="1600" b="0" dirty="0"/>
              <a:t>Wichtig sind ist aber alles, was den Tarif flexibel mach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Nachversicherungsgarantien, am besten ohne Risikoprüfung und ereignisunabhängig. Auch die Höhe ist wichti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Besserstellungso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Je jünger, desto wichtiger ist Unterstützung bei Reha-Maßnahmen durch den Versiche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AU-Klausel, um unkompliziert bei vorübergehenden Erkrankungen Geld zu bekom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Wenn eine Verbeamtung im Raum steht, wäre eine DU-Klausel oder zumindest die Option darauf eine feine Sache</a:t>
            </a:r>
          </a:p>
          <a:p>
            <a:endParaRPr lang="de-DE" sz="1600" b="0" dirty="0"/>
          </a:p>
          <a:p>
            <a:endParaRPr lang="de-DE" sz="16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FBF1F-0791-ECBB-5B14-DA9F7BCC4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dirty="0"/>
              <a:t>Worauf kommt es bei den Bedingungen an?</a:t>
            </a:r>
          </a:p>
        </p:txBody>
      </p:sp>
    </p:spTree>
    <p:extLst>
      <p:ext uri="{BB962C8B-B14F-4D97-AF65-F5344CB8AC3E}">
        <p14:creationId xmlns:p14="http://schemas.microsoft.com/office/powerpoint/2010/main" val="128310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FF7E21-80BF-46C9-B8E4-2728DDBB8D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33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FF7E21-80BF-46C9-B8E4-2728DDBB8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Person, Frau, Getränk, Restaurant enthält.&#10;&#10;Automatisch generierte Beschreibung">
            <a:extLst>
              <a:ext uri="{FF2B5EF4-FFF2-40B4-BE49-F238E27FC236}">
                <a16:creationId xmlns:a16="http://schemas.microsoft.com/office/drawing/2014/main" id="{3D95A2D8-ED38-45CE-8F73-7CC7F60CE74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t="9067" b="9067"/>
          <a:stretch/>
        </p:blipFill>
        <p:spPr>
          <a:xfrm>
            <a:off x="200438" y="211702"/>
            <a:ext cx="11791121" cy="6434593"/>
          </a:xfr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5D72B112-29C1-4C7A-B333-C111231DAD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2286" y="4182990"/>
            <a:ext cx="4332989" cy="893771"/>
          </a:xfrm>
        </p:spPr>
        <p:txBody>
          <a:bodyPr vert="horz"/>
          <a:lstStyle/>
          <a:p>
            <a:r>
              <a:rPr lang="de-DE" dirty="0"/>
              <a:t>Herzlichen Dank!</a:t>
            </a:r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5E371E36-018E-46F4-8F7A-9478052236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42285" y="5177005"/>
            <a:ext cx="4332988" cy="553998"/>
          </a:xfrm>
        </p:spPr>
        <p:txBody>
          <a:bodyPr/>
          <a:lstStyle/>
          <a:p>
            <a:r>
              <a:rPr lang="de-DE" dirty="0"/>
              <a:t>Wenn ihr Fragen habt oder euch was aufgefallen ist, dann schreibt mir!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6B2BD28-D863-4EC9-B1AF-3E90355348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286" y="5903220"/>
            <a:ext cx="4332988" cy="184666"/>
          </a:xfrm>
        </p:spPr>
        <p:txBody>
          <a:bodyPr/>
          <a:lstStyle/>
          <a:p>
            <a:r>
              <a:rPr lang="de-DE" dirty="0"/>
              <a:t>Philip Wenzel| p.wenzel@fondsfinanz.de</a:t>
            </a:r>
          </a:p>
        </p:txBody>
      </p:sp>
    </p:spTree>
    <p:extLst>
      <p:ext uri="{BB962C8B-B14F-4D97-AF65-F5344CB8AC3E}">
        <p14:creationId xmlns:p14="http://schemas.microsoft.com/office/powerpoint/2010/main" val="7149125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Fonds Finanz">
  <a:themeElements>
    <a:clrScheme name="Fonds_Finanz_Colors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Fond_Finanz_Colors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108000" tIns="72000" rIns="108000" bIns="72000" rtlCol="0" anchor="t"/>
      <a:lstStyle>
        <a:defPPr algn="l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>
          <a:solidFill>
            <a:srgbClr val="2F4D72"/>
          </a:solidFill>
          <a:prstDash val="solid"/>
          <a:miter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tx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Nachhaltigkeit Hellgrün">
      <a:srgbClr val="87B24C"/>
    </a:custClr>
    <a:custClr name="Nachhaltigkeit Dunkelgrün">
      <a:srgbClr val="59774D"/>
    </a:custClr>
    <a:custClr name="Warnsignal">
      <a:srgbClr val="CE2828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FF_PPT-Vorlagen_Jun02.pptx  -  Schreibgeschützt" id="{7C14F8C8-09AF-4700-A434-D8D6B2D5A298}" vid="{DFA0DBF9-92F9-4C01-BCA6-E306B7085992}"/>
    </a:ext>
  </a:extLst>
</a:theme>
</file>

<file path=ppt/theme/theme2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F_PPT-Vorlagen_Jun02</Template>
  <TotalTime>0</TotalTime>
  <Words>333</Words>
  <Application>Microsoft Office PowerPoint</Application>
  <PresentationFormat>Breitbild</PresentationFormat>
  <Paragraphs>33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PT Sans</vt:lpstr>
      <vt:lpstr>Wingdings</vt:lpstr>
      <vt:lpstr>Master Fonds Finanz</vt:lpstr>
      <vt:lpstr>think-cell Folie</vt:lpstr>
      <vt:lpstr>Bedarf von Schülern</vt:lpstr>
      <vt:lpstr>  </vt:lpstr>
      <vt:lpstr>Warum muss der Schüler oder Student schon eine BUV haben?</vt:lpstr>
      <vt:lpstr>Worauf muss ich bei einem Schüler oder Student achten?</vt:lpstr>
      <vt:lpstr>  </vt:lpstr>
      <vt:lpstr>Sind Schüler und Studenten was Besonderes?</vt:lpstr>
      <vt:lpstr>Herzlichen Dan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rauf musst du bei BU-Bedingungen achten!</dc:title>
  <dc:creator>Philip Wenzel</dc:creator>
  <cp:lastModifiedBy>Philip Wenzel</cp:lastModifiedBy>
  <cp:revision>19</cp:revision>
  <dcterms:created xsi:type="dcterms:W3CDTF">2024-01-16T07:21:00Z</dcterms:created>
  <dcterms:modified xsi:type="dcterms:W3CDTF">2024-08-13T15:26:58Z</dcterms:modified>
</cp:coreProperties>
</file>